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8.xml" ContentType="application/vnd.openxmlformats-officedocument.them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theme/theme9.xml" ContentType="application/vnd.openxmlformats-officedocument.theme+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564.xml" ContentType="application/vnd.openxmlformats-officedocument.presentationml.tags+xml"/>
  <Override PartName="/ppt/tags/tag56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1"/>
    <p:sldMasterId id="2147483823" r:id="rId2"/>
    <p:sldMasterId id="2147484111" r:id="rId3"/>
    <p:sldMasterId id="2147484127" r:id="rId4"/>
    <p:sldMasterId id="2147484142" r:id="rId5"/>
    <p:sldMasterId id="2147484162" r:id="rId6"/>
    <p:sldMasterId id="2147484238" r:id="rId7"/>
    <p:sldMasterId id="2147484314" r:id="rId8"/>
    <p:sldMasterId id="2147484390" r:id="rId9"/>
  </p:sldMasterIdLst>
  <p:notesMasterIdLst>
    <p:notesMasterId r:id="rId23"/>
  </p:notesMasterIdLst>
  <p:handoutMasterIdLst>
    <p:handoutMasterId r:id="rId24"/>
  </p:handoutMasterIdLst>
  <p:sldIdLst>
    <p:sldId id="1374" r:id="rId10"/>
    <p:sldId id="1241" r:id="rId11"/>
    <p:sldId id="2134806235" r:id="rId12"/>
    <p:sldId id="1496" r:id="rId13"/>
    <p:sldId id="1495" r:id="rId14"/>
    <p:sldId id="2147376481" r:id="rId15"/>
    <p:sldId id="2147376528" r:id="rId16"/>
    <p:sldId id="2147376482" r:id="rId17"/>
    <p:sldId id="2147376541" r:id="rId18"/>
    <p:sldId id="2147376484" r:id="rId19"/>
    <p:sldId id="2147376527" r:id="rId20"/>
    <p:sldId id="1478" r:id="rId21"/>
    <p:sldId id="605" r:id="rId22"/>
  </p:sldIdLst>
  <p:sldSz cx="12192000" cy="6858000"/>
  <p:notesSz cx="6858000" cy="9144000"/>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nise L. Kahler" initials="DL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D78"/>
    <a:srgbClr val="00FB92"/>
    <a:srgbClr val="C2DF87"/>
    <a:srgbClr val="40B4E5"/>
    <a:srgbClr val="941651"/>
    <a:srgbClr val="D25627"/>
    <a:srgbClr val="E57D3C"/>
    <a:srgbClr val="8E88A3"/>
    <a:srgbClr val="8B1C40"/>
    <a:srgbClr val="F632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4583" autoAdjust="0"/>
    <p:restoredTop sz="86463" autoAdjust="0"/>
  </p:normalViewPr>
  <p:slideViewPr>
    <p:cSldViewPr>
      <p:cViewPr varScale="1">
        <p:scale>
          <a:sx n="99" d="100"/>
          <a:sy n="99" d="100"/>
        </p:scale>
        <p:origin x="1674" y="78"/>
      </p:cViewPr>
      <p:guideLst>
        <p:guide orient="horz" pos="2160"/>
        <p:guide pos="3840"/>
      </p:guideLst>
    </p:cSldViewPr>
  </p:slideViewPr>
  <p:outlineViewPr>
    <p:cViewPr>
      <p:scale>
        <a:sx n="33" d="100"/>
        <a:sy n="33" d="100"/>
      </p:scale>
      <p:origin x="0" y="-10400"/>
    </p:cViewPr>
  </p:outlineViewPr>
  <p:notesTextViewPr>
    <p:cViewPr>
      <p:scale>
        <a:sx n="1" d="1"/>
        <a:sy n="1" d="1"/>
      </p:scale>
      <p:origin x="0" y="0"/>
    </p:cViewPr>
  </p:notesTextViewPr>
  <p:sorterViewPr>
    <p:cViewPr varScale="1">
      <p:scale>
        <a:sx n="1" d="1"/>
        <a:sy n="1" d="1"/>
      </p:scale>
      <p:origin x="0" y="0"/>
    </p:cViewPr>
  </p:sorterViewPr>
  <p:notesViewPr>
    <p:cSldViewPr>
      <p:cViewPr varScale="1">
        <p:scale>
          <a:sx n="67" d="100"/>
          <a:sy n="67" d="100"/>
        </p:scale>
        <p:origin x="-3168" y="-8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92916516082399E-2"/>
          <c:y val="3.8690476190476192E-2"/>
          <c:w val="0.96241416696783522"/>
          <c:h val="0.92261904761904767"/>
        </c:manualLayout>
      </c:layout>
      <c:barChart>
        <c:barDir val="col"/>
        <c:grouping val="stacked"/>
        <c:varyColors val="0"/>
        <c:ser>
          <c:idx val="0"/>
          <c:order val="0"/>
          <c:spPr>
            <a:noFill/>
            <a:ln>
              <a:noFill/>
            </a:ln>
          </c:spPr>
          <c:invertIfNegative val="0"/>
          <c:dPt>
            <c:idx val="0"/>
            <c:invertIfNegative val="0"/>
            <c:bubble3D val="0"/>
            <c:spPr>
              <a:solidFill>
                <a:srgbClr val="051934"/>
              </a:solidFill>
              <a:ln>
                <a:noFill/>
              </a:ln>
            </c:spPr>
            <c:extLst>
              <c:ext xmlns:c16="http://schemas.microsoft.com/office/drawing/2014/chart" uri="{C3380CC4-5D6E-409C-BE32-E72D297353CC}">
                <c16:uniqueId val="{00000000-4C44-409F-B47D-89FF4C4CEF85}"/>
              </c:ext>
            </c:extLst>
          </c:dPt>
          <c:dPt>
            <c:idx val="4"/>
            <c:invertIfNegative val="0"/>
            <c:bubble3D val="0"/>
            <c:spPr>
              <a:solidFill>
                <a:srgbClr val="828282"/>
              </a:solidFill>
              <a:ln>
                <a:noFill/>
              </a:ln>
            </c:spPr>
            <c:extLst>
              <c:ext xmlns:c16="http://schemas.microsoft.com/office/drawing/2014/chart" uri="{C3380CC4-5D6E-409C-BE32-E72D297353CC}">
                <c16:uniqueId val="{00000001-4C44-409F-B47D-89FF4C4CEF85}"/>
              </c:ext>
            </c:extLst>
          </c:dPt>
          <c:val>
            <c:numRef>
              <c:f>Sheet1!$A$1:$E$1</c:f>
              <c:numCache>
                <c:formatCode>General</c:formatCode>
                <c:ptCount val="5"/>
                <c:pt idx="0">
                  <c:v>20.210053104789949</c:v>
                </c:pt>
                <c:pt idx="1">
                  <c:v>20.210053104789949</c:v>
                </c:pt>
                <c:pt idx="2">
                  <c:v>70.210053104789949</c:v>
                </c:pt>
                <c:pt idx="3">
                  <c:v>108.21005310478995</c:v>
                </c:pt>
                <c:pt idx="4">
                  <c:v>143.21005310478995</c:v>
                </c:pt>
              </c:numCache>
            </c:numRef>
          </c:val>
          <c:extLst>
            <c:ext xmlns:c16="http://schemas.microsoft.com/office/drawing/2014/chart" uri="{C3380CC4-5D6E-409C-BE32-E72D297353CC}">
              <c16:uniqueId val="{00000002-4C44-409F-B47D-89FF4C4CEF85}"/>
            </c:ext>
          </c:extLst>
        </c:ser>
        <c:ser>
          <c:idx val="1"/>
          <c:order val="1"/>
          <c:spPr>
            <a:solidFill>
              <a:srgbClr val="051934"/>
            </a:solidFill>
            <a:ln>
              <a:noFill/>
            </a:ln>
          </c:spPr>
          <c:invertIfNegative val="0"/>
          <c:val>
            <c:numRef>
              <c:f>Sheet1!$A$2:$E$2</c:f>
              <c:numCache>
                <c:formatCode>General</c:formatCode>
                <c:ptCount val="5"/>
                <c:pt idx="1">
                  <c:v>50</c:v>
                </c:pt>
                <c:pt idx="2">
                  <c:v>38</c:v>
                </c:pt>
                <c:pt idx="3">
                  <c:v>35</c:v>
                </c:pt>
              </c:numCache>
            </c:numRef>
          </c:val>
          <c:extLst>
            <c:ext xmlns:c16="http://schemas.microsoft.com/office/drawing/2014/chart" uri="{C3380CC4-5D6E-409C-BE32-E72D297353CC}">
              <c16:uniqueId val="{00000003-4C44-409F-B47D-89FF4C4CEF85}"/>
            </c:ext>
          </c:extLst>
        </c:ser>
        <c:dLbls>
          <c:showLegendKey val="0"/>
          <c:showVal val="0"/>
          <c:showCatName val="0"/>
          <c:showSerName val="0"/>
          <c:showPercent val="0"/>
          <c:showBubbleSize val="0"/>
        </c:dLbls>
        <c:gapWidth val="60"/>
        <c:overlap val="100"/>
        <c:axId val="204170239"/>
        <c:axId val="1"/>
      </c:barChart>
      <c:catAx>
        <c:axId val="204170239"/>
        <c:scaling>
          <c:orientation val="minMax"/>
        </c:scaling>
        <c:delete val="0"/>
        <c:axPos val="b"/>
        <c:majorGridlines>
          <c:spPr>
            <a:ln>
              <a:noFill/>
            </a:ln>
          </c:spPr>
        </c:majorGridlines>
        <c:majorTickMark val="none"/>
        <c:minorTickMark val="none"/>
        <c:tickLblPos val="none"/>
        <c:spPr>
          <a:ln w="9525" cap="flat" algn="ctr">
            <a:solidFill>
              <a:srgbClr val="ADADAD"/>
            </a:solidFill>
            <a:prstDash val="solid"/>
          </a:ln>
        </c:spPr>
        <c:crossAx val="1"/>
        <c:crosses val="min"/>
        <c:auto val="0"/>
        <c:lblAlgn val="ctr"/>
        <c:lblOffset val="100"/>
        <c:noMultiLvlLbl val="0"/>
      </c:catAx>
      <c:valAx>
        <c:axId val="1"/>
        <c:scaling>
          <c:orientation val="minMax"/>
          <c:max val="143.21005310478995"/>
          <c:min val="0"/>
        </c:scaling>
        <c:delete val="1"/>
        <c:axPos val="l"/>
        <c:numFmt formatCode="General" sourceLinked="1"/>
        <c:majorTickMark val="out"/>
        <c:minorTickMark val="none"/>
        <c:tickLblPos val="nextTo"/>
        <c:crossAx val="204170239"/>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786127167630059E-2"/>
          <c:y val="3.8690476190476192E-2"/>
          <c:w val="0.96242774566473988"/>
          <c:h val="0.92261904761904767"/>
        </c:manualLayout>
      </c:layout>
      <c:barChart>
        <c:barDir val="col"/>
        <c:grouping val="stacked"/>
        <c:varyColors val="0"/>
        <c:ser>
          <c:idx val="0"/>
          <c:order val="0"/>
          <c:spPr>
            <a:noFill/>
            <a:ln>
              <a:noFill/>
            </a:ln>
          </c:spPr>
          <c:invertIfNegative val="0"/>
          <c:dPt>
            <c:idx val="0"/>
            <c:invertIfNegative val="0"/>
            <c:bubble3D val="0"/>
            <c:spPr>
              <a:solidFill>
                <a:srgbClr val="051934"/>
              </a:solidFill>
              <a:ln>
                <a:noFill/>
              </a:ln>
            </c:spPr>
            <c:extLst>
              <c:ext xmlns:c16="http://schemas.microsoft.com/office/drawing/2014/chart" uri="{C3380CC4-5D6E-409C-BE32-E72D297353CC}">
                <c16:uniqueId val="{00000000-2E86-45E5-9989-DCC18644D1A8}"/>
              </c:ext>
            </c:extLst>
          </c:dPt>
          <c:dPt>
            <c:idx val="4"/>
            <c:invertIfNegative val="0"/>
            <c:bubble3D val="0"/>
            <c:spPr>
              <a:solidFill>
                <a:srgbClr val="828282"/>
              </a:solidFill>
              <a:ln>
                <a:noFill/>
              </a:ln>
            </c:spPr>
            <c:extLst>
              <c:ext xmlns:c16="http://schemas.microsoft.com/office/drawing/2014/chart" uri="{C3380CC4-5D6E-409C-BE32-E72D297353CC}">
                <c16:uniqueId val="{00000001-2E86-45E5-9989-DCC18644D1A8}"/>
              </c:ext>
            </c:extLst>
          </c:dPt>
          <c:val>
            <c:numRef>
              <c:f>Sheet1!$A$1:$E$1</c:f>
              <c:numCache>
                <c:formatCode>General</c:formatCode>
                <c:ptCount val="5"/>
                <c:pt idx="0">
                  <c:v>21639.544665860478</c:v>
                </c:pt>
                <c:pt idx="1">
                  <c:v>21639.544665860478</c:v>
                </c:pt>
                <c:pt idx="2">
                  <c:v>63248.544665860478</c:v>
                </c:pt>
                <c:pt idx="3">
                  <c:v>115951.54466586048</c:v>
                </c:pt>
                <c:pt idx="4">
                  <c:v>153339.54466586048</c:v>
                </c:pt>
              </c:numCache>
            </c:numRef>
          </c:val>
          <c:extLst>
            <c:ext xmlns:c16="http://schemas.microsoft.com/office/drawing/2014/chart" uri="{C3380CC4-5D6E-409C-BE32-E72D297353CC}">
              <c16:uniqueId val="{00000002-2E86-45E5-9989-DCC18644D1A8}"/>
            </c:ext>
          </c:extLst>
        </c:ser>
        <c:ser>
          <c:idx val="1"/>
          <c:order val="1"/>
          <c:spPr>
            <a:solidFill>
              <a:srgbClr val="051934"/>
            </a:solidFill>
            <a:ln>
              <a:noFill/>
            </a:ln>
          </c:spPr>
          <c:invertIfNegative val="0"/>
          <c:val>
            <c:numRef>
              <c:f>Sheet1!$A$2:$E$2</c:f>
              <c:numCache>
                <c:formatCode>General</c:formatCode>
                <c:ptCount val="5"/>
                <c:pt idx="1">
                  <c:v>41609</c:v>
                </c:pt>
                <c:pt idx="2">
                  <c:v>52703</c:v>
                </c:pt>
                <c:pt idx="3">
                  <c:v>37388</c:v>
                </c:pt>
              </c:numCache>
            </c:numRef>
          </c:val>
          <c:extLst>
            <c:ext xmlns:c16="http://schemas.microsoft.com/office/drawing/2014/chart" uri="{C3380CC4-5D6E-409C-BE32-E72D297353CC}">
              <c16:uniqueId val="{00000003-2E86-45E5-9989-DCC18644D1A8}"/>
            </c:ext>
          </c:extLst>
        </c:ser>
        <c:dLbls>
          <c:showLegendKey val="0"/>
          <c:showVal val="0"/>
          <c:showCatName val="0"/>
          <c:showSerName val="0"/>
          <c:showPercent val="0"/>
          <c:showBubbleSize val="0"/>
        </c:dLbls>
        <c:gapWidth val="60"/>
        <c:overlap val="100"/>
        <c:axId val="469229943"/>
        <c:axId val="1"/>
      </c:barChart>
      <c:catAx>
        <c:axId val="469229943"/>
        <c:scaling>
          <c:orientation val="minMax"/>
        </c:scaling>
        <c:delete val="0"/>
        <c:axPos val="b"/>
        <c:majorGridlines>
          <c:spPr>
            <a:ln>
              <a:noFill/>
            </a:ln>
          </c:spPr>
        </c:majorGridlines>
        <c:majorTickMark val="none"/>
        <c:minorTickMark val="none"/>
        <c:tickLblPos val="none"/>
        <c:spPr>
          <a:ln w="9525" cap="flat" algn="ctr">
            <a:solidFill>
              <a:srgbClr val="ADADAD"/>
            </a:solidFill>
            <a:prstDash val="solid"/>
          </a:ln>
        </c:spPr>
        <c:crossAx val="1"/>
        <c:crosses val="min"/>
        <c:auto val="0"/>
        <c:lblAlgn val="ctr"/>
        <c:lblOffset val="100"/>
        <c:noMultiLvlLbl val="0"/>
      </c:catAx>
      <c:valAx>
        <c:axId val="1"/>
        <c:scaling>
          <c:orientation val="minMax"/>
          <c:max val="153339.54466586048"/>
          <c:min val="0"/>
        </c:scaling>
        <c:delete val="1"/>
        <c:axPos val="l"/>
        <c:numFmt formatCode="General" sourceLinked="1"/>
        <c:majorTickMark val="out"/>
        <c:minorTickMark val="none"/>
        <c:tickLblPos val="nextTo"/>
        <c:crossAx val="469229943"/>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4773701762744165E-2"/>
          <c:y val="2.4208566108007448E-2"/>
          <c:w val="0.85326345878989995"/>
          <c:h val="0.95158286778398515"/>
        </c:manualLayout>
      </c:layout>
      <c:barChart>
        <c:barDir val="bar"/>
        <c:grouping val="stacked"/>
        <c:varyColors val="0"/>
        <c:ser>
          <c:idx val="0"/>
          <c:order val="0"/>
          <c:spPr>
            <a:noFill/>
            <a:ln>
              <a:noFill/>
            </a:ln>
          </c:spPr>
          <c:invertIfNegative val="0"/>
          <c:dPt>
            <c:idx val="0"/>
            <c:invertIfNegative val="0"/>
            <c:bubble3D val="0"/>
            <c:spPr>
              <a:solidFill>
                <a:srgbClr val="051934"/>
              </a:solidFill>
              <a:ln>
                <a:noFill/>
              </a:ln>
            </c:spPr>
            <c:extLst>
              <c:ext xmlns:c16="http://schemas.microsoft.com/office/drawing/2014/chart" uri="{C3380CC4-5D6E-409C-BE32-E72D297353CC}">
                <c16:uniqueId val="{00000000-0857-40DE-AE5D-266D0625249E}"/>
              </c:ext>
            </c:extLst>
          </c:dPt>
          <c:dPt>
            <c:idx val="5"/>
            <c:invertIfNegative val="0"/>
            <c:bubble3D val="0"/>
            <c:spPr>
              <a:solidFill>
                <a:srgbClr val="828282"/>
              </a:solidFill>
              <a:ln>
                <a:noFill/>
              </a:ln>
            </c:spPr>
            <c:extLst>
              <c:ext xmlns:c16="http://schemas.microsoft.com/office/drawing/2014/chart" uri="{C3380CC4-5D6E-409C-BE32-E72D297353CC}">
                <c16:uniqueId val="{00000001-0857-40DE-AE5D-266D0625249E}"/>
              </c:ext>
            </c:extLst>
          </c:dPt>
          <c:dLbls>
            <c:dLbl>
              <c:idx val="5"/>
              <c:layout>
                <c:manualLayout>
                  <c:x val="0.48785135778942351"/>
                  <c:y val="-1.8621973929236499E-3"/>
                </c:manualLayout>
              </c:layout>
              <c:numFmt formatCode="#,##0;&quot;-&quot;#,##0" sourceLinked="0"/>
              <c:spPr>
                <a:noFill/>
                <a:ln>
                  <a:noFill/>
                </a:ln>
              </c:spPr>
              <c:txPr>
                <a:bodyPr wrap="none"/>
                <a:lstStyle/>
                <a:p>
                  <a:pPr>
                    <a:defRPr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857-40DE-AE5D-266D062524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76</c:v>
                </c:pt>
                <c:pt idx="1">
                  <c:v>76</c:v>
                </c:pt>
                <c:pt idx="2">
                  <c:v>115</c:v>
                </c:pt>
                <c:pt idx="3">
                  <c:v>125</c:v>
                </c:pt>
                <c:pt idx="4">
                  <c:v>149</c:v>
                </c:pt>
                <c:pt idx="5">
                  <c:v>307</c:v>
                </c:pt>
              </c:numCache>
            </c:numRef>
          </c:val>
          <c:extLst>
            <c:ext xmlns:c16="http://schemas.microsoft.com/office/drawing/2014/chart" uri="{C3380CC4-5D6E-409C-BE32-E72D297353CC}">
              <c16:uniqueId val="{00000002-0857-40DE-AE5D-266D0625249E}"/>
            </c:ext>
          </c:extLst>
        </c:ser>
        <c:ser>
          <c:idx val="1"/>
          <c:order val="1"/>
          <c:spPr>
            <a:solidFill>
              <a:srgbClr val="051934"/>
            </a:solidFill>
            <a:ln>
              <a:noFill/>
            </a:ln>
          </c:spPr>
          <c:invertIfNegative val="0"/>
          <c:val>
            <c:numRef>
              <c:f>Sheet1!$A$2:$F$2</c:f>
              <c:numCache>
                <c:formatCode>General</c:formatCode>
                <c:ptCount val="6"/>
                <c:pt idx="1">
                  <c:v>39</c:v>
                </c:pt>
                <c:pt idx="2">
                  <c:v>10</c:v>
                </c:pt>
                <c:pt idx="3">
                  <c:v>24</c:v>
                </c:pt>
                <c:pt idx="4">
                  <c:v>158</c:v>
                </c:pt>
              </c:numCache>
            </c:numRef>
          </c:val>
          <c:extLst>
            <c:ext xmlns:c16="http://schemas.microsoft.com/office/drawing/2014/chart" uri="{C3380CC4-5D6E-409C-BE32-E72D297353CC}">
              <c16:uniqueId val="{00000003-0857-40DE-AE5D-266D0625249E}"/>
            </c:ext>
          </c:extLst>
        </c:ser>
        <c:dLbls>
          <c:showLegendKey val="0"/>
          <c:showVal val="0"/>
          <c:showCatName val="0"/>
          <c:showSerName val="0"/>
          <c:showPercent val="0"/>
          <c:showBubbleSize val="0"/>
        </c:dLbls>
        <c:gapWidth val="60"/>
        <c:overlap val="100"/>
        <c:axId val="878329879"/>
        <c:axId val="1"/>
      </c:barChart>
      <c:catAx>
        <c:axId val="878329879"/>
        <c:scaling>
          <c:orientation val="maxMin"/>
        </c:scaling>
        <c:delete val="0"/>
        <c:axPos val="l"/>
        <c:majorGridlines>
          <c:spPr>
            <a:ln>
              <a:noFill/>
            </a:ln>
          </c:spPr>
        </c:majorGridlines>
        <c:majorTickMark val="none"/>
        <c:minorTickMark val="none"/>
        <c:tickLblPos val="none"/>
        <c:spPr>
          <a:ln w="9525" cap="flat" algn="ctr">
            <a:solidFill>
              <a:srgbClr val="ADADAD"/>
            </a:solidFill>
            <a:prstDash val="solid"/>
          </a:ln>
        </c:spPr>
        <c:crossAx val="1"/>
        <c:crosses val="min"/>
        <c:auto val="0"/>
        <c:lblAlgn val="ctr"/>
        <c:lblOffset val="100"/>
        <c:noMultiLvlLbl val="0"/>
      </c:catAx>
      <c:valAx>
        <c:axId val="1"/>
        <c:scaling>
          <c:orientation val="minMax"/>
          <c:max val="307"/>
          <c:min val="0"/>
        </c:scaling>
        <c:delete val="1"/>
        <c:axPos val="b"/>
        <c:numFmt formatCode="General" sourceLinked="1"/>
        <c:majorTickMark val="out"/>
        <c:minorTickMark val="none"/>
        <c:tickLblPos val="nextTo"/>
        <c:crossAx val="878329879"/>
        <c:crosses val="max"/>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461756373937678E-2"/>
          <c:y val="2.4208566108007448E-2"/>
          <c:w val="0.94107648725212467"/>
          <c:h val="0.95158286778398515"/>
        </c:manualLayout>
      </c:layout>
      <c:barChart>
        <c:barDir val="bar"/>
        <c:grouping val="stacked"/>
        <c:varyColors val="0"/>
        <c:ser>
          <c:idx val="0"/>
          <c:order val="0"/>
          <c:spPr>
            <a:noFill/>
            <a:ln>
              <a:noFill/>
            </a:ln>
          </c:spPr>
          <c:invertIfNegative val="0"/>
          <c:dPt>
            <c:idx val="0"/>
            <c:invertIfNegative val="0"/>
            <c:bubble3D val="0"/>
            <c:spPr>
              <a:solidFill>
                <a:srgbClr val="051934"/>
              </a:solidFill>
              <a:ln>
                <a:noFill/>
              </a:ln>
            </c:spPr>
            <c:extLst>
              <c:ext xmlns:c16="http://schemas.microsoft.com/office/drawing/2014/chart" uri="{C3380CC4-5D6E-409C-BE32-E72D297353CC}">
                <c16:uniqueId val="{00000000-E2C5-444F-B95B-25C504389EB1}"/>
              </c:ext>
            </c:extLst>
          </c:dPt>
          <c:dPt>
            <c:idx val="5"/>
            <c:invertIfNegative val="0"/>
            <c:bubble3D val="0"/>
            <c:spPr>
              <a:solidFill>
                <a:srgbClr val="828282"/>
              </a:solidFill>
              <a:ln>
                <a:noFill/>
              </a:ln>
            </c:spPr>
            <c:extLst>
              <c:ext xmlns:c16="http://schemas.microsoft.com/office/drawing/2014/chart" uri="{C3380CC4-5D6E-409C-BE32-E72D297353CC}">
                <c16:uniqueId val="{00000001-E2C5-444F-B95B-25C504389EB1}"/>
              </c:ext>
            </c:extLst>
          </c:dPt>
          <c:val>
            <c:numRef>
              <c:f>Sheet1!$A$1:$F$1</c:f>
              <c:numCache>
                <c:formatCode>General</c:formatCode>
                <c:ptCount val="6"/>
                <c:pt idx="0">
                  <c:v>81578</c:v>
                </c:pt>
                <c:pt idx="1">
                  <c:v>81578</c:v>
                </c:pt>
                <c:pt idx="2">
                  <c:v>260902</c:v>
                </c:pt>
                <c:pt idx="3">
                  <c:v>290724</c:v>
                </c:pt>
                <c:pt idx="4">
                  <c:v>308294</c:v>
                </c:pt>
                <c:pt idx="5">
                  <c:v>491161</c:v>
                </c:pt>
              </c:numCache>
            </c:numRef>
          </c:val>
          <c:extLst>
            <c:ext xmlns:c16="http://schemas.microsoft.com/office/drawing/2014/chart" uri="{C3380CC4-5D6E-409C-BE32-E72D297353CC}">
              <c16:uniqueId val="{00000002-E2C5-444F-B95B-25C504389EB1}"/>
            </c:ext>
          </c:extLst>
        </c:ser>
        <c:ser>
          <c:idx val="1"/>
          <c:order val="1"/>
          <c:spPr>
            <a:solidFill>
              <a:srgbClr val="051934"/>
            </a:solidFill>
            <a:ln>
              <a:noFill/>
            </a:ln>
          </c:spPr>
          <c:invertIfNegative val="0"/>
          <c:val>
            <c:numRef>
              <c:f>Sheet1!$A$2:$F$2</c:f>
              <c:numCache>
                <c:formatCode>General</c:formatCode>
                <c:ptCount val="6"/>
                <c:pt idx="1">
                  <c:v>179324</c:v>
                </c:pt>
                <c:pt idx="2">
                  <c:v>29822</c:v>
                </c:pt>
                <c:pt idx="3">
                  <c:v>17570</c:v>
                </c:pt>
                <c:pt idx="4">
                  <c:v>182867</c:v>
                </c:pt>
              </c:numCache>
            </c:numRef>
          </c:val>
          <c:extLst>
            <c:ext xmlns:c16="http://schemas.microsoft.com/office/drawing/2014/chart" uri="{C3380CC4-5D6E-409C-BE32-E72D297353CC}">
              <c16:uniqueId val="{00000003-E2C5-444F-B95B-25C504389EB1}"/>
            </c:ext>
          </c:extLst>
        </c:ser>
        <c:dLbls>
          <c:showLegendKey val="0"/>
          <c:showVal val="0"/>
          <c:showCatName val="0"/>
          <c:showSerName val="0"/>
          <c:showPercent val="0"/>
          <c:showBubbleSize val="0"/>
        </c:dLbls>
        <c:gapWidth val="60"/>
        <c:overlap val="100"/>
        <c:axId val="296228807"/>
        <c:axId val="1"/>
      </c:barChart>
      <c:catAx>
        <c:axId val="296228807"/>
        <c:scaling>
          <c:orientation val="maxMin"/>
        </c:scaling>
        <c:delete val="0"/>
        <c:axPos val="l"/>
        <c:majorGridlines>
          <c:spPr>
            <a:ln>
              <a:noFill/>
            </a:ln>
          </c:spPr>
        </c:majorGridlines>
        <c:majorTickMark val="none"/>
        <c:minorTickMark val="none"/>
        <c:tickLblPos val="none"/>
        <c:spPr>
          <a:ln w="9525" cap="flat" algn="ctr">
            <a:solidFill>
              <a:srgbClr val="ADADAD"/>
            </a:solidFill>
            <a:prstDash val="solid"/>
          </a:ln>
        </c:spPr>
        <c:crossAx val="1"/>
        <c:crosses val="min"/>
        <c:auto val="0"/>
        <c:lblAlgn val="ctr"/>
        <c:lblOffset val="100"/>
        <c:noMultiLvlLbl val="0"/>
      </c:catAx>
      <c:valAx>
        <c:axId val="1"/>
        <c:scaling>
          <c:orientation val="minMax"/>
          <c:max val="491161"/>
          <c:min val="0"/>
        </c:scaling>
        <c:delete val="1"/>
        <c:axPos val="b"/>
        <c:numFmt formatCode="General" sourceLinked="1"/>
        <c:majorTickMark val="out"/>
        <c:minorTickMark val="none"/>
        <c:tickLblPos val="nextTo"/>
        <c:crossAx val="296228807"/>
        <c:crosses val="max"/>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7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8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9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0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0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0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0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0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305.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0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0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0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0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0.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3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17FAFBE-49B9-475A-8DB2-C181CF1E5328}" type="datetimeFigureOut">
              <a:rPr lang="en-US" smtClean="0"/>
              <a:t>9/29/2021</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1850882-0C4F-47F7-BEBE-6C7FE948EBC3}" type="slidenum">
              <a:rPr lang="en-US" smtClean="0"/>
              <a:t>‹#›</a:t>
            </a:fld>
            <a:endParaRPr lang="en-US" dirty="0"/>
          </a:p>
        </p:txBody>
      </p:sp>
    </p:spTree>
    <p:extLst>
      <p:ext uri="{BB962C8B-B14F-4D97-AF65-F5344CB8AC3E}">
        <p14:creationId xmlns:p14="http://schemas.microsoft.com/office/powerpoint/2010/main" val="39528252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DC583B0-7748-405D-BCDF-4A261B3F049B}" type="datetimeFigureOut">
              <a:rPr lang="en-US" smtClean="0"/>
              <a:t>9/29/2021</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1BC64E8-45BE-4474-B3AA-B6DEBEC91A50}" type="slidenum">
              <a:rPr lang="en-US" smtClean="0"/>
              <a:t>‹#›</a:t>
            </a:fld>
            <a:endParaRPr lang="en-US" dirty="0"/>
          </a:p>
        </p:txBody>
      </p:sp>
    </p:spTree>
    <p:extLst>
      <p:ext uri="{BB962C8B-B14F-4D97-AF65-F5344CB8AC3E}">
        <p14:creationId xmlns:p14="http://schemas.microsoft.com/office/powerpoint/2010/main" val="1951424604"/>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F98B449-3EE6-F940-A288-ACF3366978E5}" type="slidenum">
              <a:rPr lang="en-US" smtClean="0"/>
              <a:t>1</a:t>
            </a:fld>
            <a:endParaRPr lang="en-US" dirty="0"/>
          </a:p>
        </p:txBody>
      </p:sp>
    </p:spTree>
    <p:extLst>
      <p:ext uri="{BB962C8B-B14F-4D97-AF65-F5344CB8AC3E}">
        <p14:creationId xmlns:p14="http://schemas.microsoft.com/office/powerpoint/2010/main" val="4280226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4559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9900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08957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0461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fld id="{31BC64E8-45BE-4474-B3AA-B6DEBEC91A50}" type="slidenum">
              <a:rPr lang="en-US" smtClean="0">
                <a:solidFill>
                  <a:prstClr val="black"/>
                </a:solidFill>
                <a:latin typeface="Calibri"/>
              </a:rPr>
              <a:pPr/>
              <a:t>13</a:t>
            </a:fld>
            <a:endParaRPr lang="en-US" dirty="0">
              <a:solidFill>
                <a:prstClr val="black"/>
              </a:solidFill>
              <a:latin typeface="Calibri"/>
            </a:endParaRPr>
          </a:p>
        </p:txBody>
      </p:sp>
    </p:spTree>
    <p:extLst>
      <p:ext uri="{BB962C8B-B14F-4D97-AF65-F5344CB8AC3E}">
        <p14:creationId xmlns:p14="http://schemas.microsoft.com/office/powerpoint/2010/main" val="12924998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8.png"/><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9.png"/><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28.png"/><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9.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24.emf"/><Relationship Id="rId5" Type="http://schemas.openxmlformats.org/officeDocument/2006/relationships/oleObject" Target="../embeddings/oleObject28.bin"/><Relationship Id="rId4"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3.xml"/><Relationship Id="rId1" Type="http://schemas.openxmlformats.org/officeDocument/2006/relationships/vmlDrawing" Target="../drawings/vmlDrawing29.v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2.vml"/><Relationship Id="rId6" Type="http://schemas.openxmlformats.org/officeDocument/2006/relationships/image" Target="../media/image24.emf"/><Relationship Id="rId5" Type="http://schemas.openxmlformats.org/officeDocument/2006/relationships/oleObject" Target="../embeddings/oleObject32.bin"/><Relationship Id="rId4"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vmlDrawing" Target="../drawings/vmlDrawing33.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34.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35.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37.vml"/><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9.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40.vml"/><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68.xml"/><Relationship Id="rId2" Type="http://schemas.openxmlformats.org/officeDocument/2006/relationships/tags" Target="../tags/tag67.xml"/><Relationship Id="rId1" Type="http://schemas.openxmlformats.org/officeDocument/2006/relationships/vmlDrawing" Target="../drawings/vmlDrawing41.vml"/><Relationship Id="rId6" Type="http://schemas.openxmlformats.org/officeDocument/2006/relationships/image" Target="../media/image24.emf"/><Relationship Id="rId5" Type="http://schemas.openxmlformats.org/officeDocument/2006/relationships/oleObject" Target="../embeddings/oleObject41.bin"/><Relationship Id="rId4"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9.xml"/><Relationship Id="rId1" Type="http://schemas.openxmlformats.org/officeDocument/2006/relationships/vmlDrawing" Target="../drawings/vmlDrawing42.vml"/><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vmlDrawing" Target="../drawings/vmlDrawing43.vml"/><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27.png"/><Relationship Id="rId2" Type="http://schemas.openxmlformats.org/officeDocument/2006/relationships/tags" Target="../tags/tag71.xml"/><Relationship Id="rId1" Type="http://schemas.openxmlformats.org/officeDocument/2006/relationships/vmlDrawing" Target="../drawings/vmlDrawing44.vml"/><Relationship Id="rId6" Type="http://schemas.openxmlformats.org/officeDocument/2006/relationships/image" Target="../media/image24.emf"/><Relationship Id="rId5" Type="http://schemas.openxmlformats.org/officeDocument/2006/relationships/oleObject" Target="../embeddings/oleObject44.bin"/><Relationship Id="rId4"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27.png"/><Relationship Id="rId2" Type="http://schemas.openxmlformats.org/officeDocument/2006/relationships/tags" Target="../tags/tag73.xml"/><Relationship Id="rId1" Type="http://schemas.openxmlformats.org/officeDocument/2006/relationships/vmlDrawing" Target="../drawings/vmlDrawing45.vml"/><Relationship Id="rId6" Type="http://schemas.openxmlformats.org/officeDocument/2006/relationships/image" Target="../media/image24.emf"/><Relationship Id="rId5" Type="http://schemas.openxmlformats.org/officeDocument/2006/relationships/oleObject" Target="../embeddings/oleObject45.bin"/><Relationship Id="rId4"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7.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24.emf"/><Relationship Id="rId5" Type="http://schemas.openxmlformats.org/officeDocument/2006/relationships/oleObject" Target="../embeddings/oleObject46.bin"/><Relationship Id="rId4"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7.png"/><Relationship Id="rId2" Type="http://schemas.openxmlformats.org/officeDocument/2006/relationships/tags" Target="../tags/tag77.xml"/><Relationship Id="rId1" Type="http://schemas.openxmlformats.org/officeDocument/2006/relationships/vmlDrawing" Target="../drawings/vmlDrawing47.vml"/><Relationship Id="rId6" Type="http://schemas.openxmlformats.org/officeDocument/2006/relationships/image" Target="../media/image24.emf"/><Relationship Id="rId5" Type="http://schemas.openxmlformats.org/officeDocument/2006/relationships/oleObject" Target="../embeddings/oleObject47.bin"/><Relationship Id="rId4"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7.png"/><Relationship Id="rId2" Type="http://schemas.openxmlformats.org/officeDocument/2006/relationships/tags" Target="../tags/tag79.xml"/><Relationship Id="rId1" Type="http://schemas.openxmlformats.org/officeDocument/2006/relationships/vmlDrawing" Target="../drawings/vmlDrawing48.vml"/><Relationship Id="rId6" Type="http://schemas.openxmlformats.org/officeDocument/2006/relationships/image" Target="../media/image24.emf"/><Relationship Id="rId5" Type="http://schemas.openxmlformats.org/officeDocument/2006/relationships/oleObject" Target="../embeddings/oleObject48.bin"/><Relationship Id="rId4"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27.png"/><Relationship Id="rId2" Type="http://schemas.openxmlformats.org/officeDocument/2006/relationships/tags" Target="../tags/tag81.xml"/><Relationship Id="rId1" Type="http://schemas.openxmlformats.org/officeDocument/2006/relationships/vmlDrawing" Target="../drawings/vmlDrawing49.vml"/><Relationship Id="rId6" Type="http://schemas.openxmlformats.org/officeDocument/2006/relationships/image" Target="../media/image24.emf"/><Relationship Id="rId5" Type="http://schemas.openxmlformats.org/officeDocument/2006/relationships/oleObject" Target="../embeddings/oleObject49.bin"/><Relationship Id="rId4"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28.png"/><Relationship Id="rId2" Type="http://schemas.openxmlformats.org/officeDocument/2006/relationships/tags" Target="../tags/tag83.xml"/><Relationship Id="rId1" Type="http://schemas.openxmlformats.org/officeDocument/2006/relationships/vmlDrawing" Target="../drawings/vmlDrawing50.vml"/><Relationship Id="rId6" Type="http://schemas.openxmlformats.org/officeDocument/2006/relationships/image" Target="../media/image30.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9.png"/><Relationship Id="rId2" Type="http://schemas.openxmlformats.org/officeDocument/2006/relationships/tags" Target="../tags/tag85.xml"/><Relationship Id="rId1" Type="http://schemas.openxmlformats.org/officeDocument/2006/relationships/vmlDrawing" Target="../drawings/vmlDrawing51.vml"/><Relationship Id="rId6" Type="http://schemas.openxmlformats.org/officeDocument/2006/relationships/image" Target="../media/image24.emf"/><Relationship Id="rId5" Type="http://schemas.openxmlformats.org/officeDocument/2006/relationships/oleObject" Target="../embeddings/oleObject51.bin"/><Relationship Id="rId4"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31.png"/><Relationship Id="rId2" Type="http://schemas.openxmlformats.org/officeDocument/2006/relationships/tags" Target="../tags/tag87.xml"/><Relationship Id="rId1" Type="http://schemas.openxmlformats.org/officeDocument/2006/relationships/vmlDrawing" Target="../drawings/vmlDrawing52.vml"/><Relationship Id="rId6" Type="http://schemas.openxmlformats.org/officeDocument/2006/relationships/image" Target="../media/image24.emf"/><Relationship Id="rId5" Type="http://schemas.openxmlformats.org/officeDocument/2006/relationships/oleObject" Target="../embeddings/oleObject52.bin"/><Relationship Id="rId4"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29.png"/><Relationship Id="rId2" Type="http://schemas.openxmlformats.org/officeDocument/2006/relationships/tags" Target="../tags/tag89.xml"/><Relationship Id="rId1" Type="http://schemas.openxmlformats.org/officeDocument/2006/relationships/vmlDrawing" Target="../drawings/vmlDrawing53.vml"/><Relationship Id="rId6" Type="http://schemas.openxmlformats.org/officeDocument/2006/relationships/image" Target="../media/image24.emf"/><Relationship Id="rId5" Type="http://schemas.openxmlformats.org/officeDocument/2006/relationships/oleObject" Target="../embeddings/oleObject53.bin"/><Relationship Id="rId4"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28.png"/><Relationship Id="rId2" Type="http://schemas.openxmlformats.org/officeDocument/2006/relationships/tags" Target="../tags/tag91.xml"/><Relationship Id="rId1" Type="http://schemas.openxmlformats.org/officeDocument/2006/relationships/vmlDrawing" Target="../drawings/vmlDrawing54.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9.png"/><Relationship Id="rId2" Type="http://schemas.openxmlformats.org/officeDocument/2006/relationships/tags" Target="../tags/tag93.xml"/><Relationship Id="rId1" Type="http://schemas.openxmlformats.org/officeDocument/2006/relationships/vmlDrawing" Target="../drawings/vmlDrawing55.vml"/><Relationship Id="rId6" Type="http://schemas.openxmlformats.org/officeDocument/2006/relationships/image" Target="../media/image24.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8.png"/><Relationship Id="rId2" Type="http://schemas.openxmlformats.org/officeDocument/2006/relationships/tags" Target="../tags/tag95.xml"/><Relationship Id="rId1" Type="http://schemas.openxmlformats.org/officeDocument/2006/relationships/vmlDrawing" Target="../drawings/vmlDrawing56.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9.png"/><Relationship Id="rId2" Type="http://schemas.openxmlformats.org/officeDocument/2006/relationships/tags" Target="../tags/tag97.xml"/><Relationship Id="rId1" Type="http://schemas.openxmlformats.org/officeDocument/2006/relationships/vmlDrawing" Target="../drawings/vmlDrawing57.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58.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59.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60.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61.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4.xml"/><Relationship Id="rId1" Type="http://schemas.openxmlformats.org/officeDocument/2006/relationships/vmlDrawing" Target="../drawings/vmlDrawing62.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5.xml"/><Relationship Id="rId1" Type="http://schemas.openxmlformats.org/officeDocument/2006/relationships/vmlDrawing" Target="../drawings/vmlDrawing63.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64.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65.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6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67.vml"/><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vmlDrawing" Target="../drawings/vmlDrawing68.vml"/><Relationship Id="rId6" Type="http://schemas.openxmlformats.org/officeDocument/2006/relationships/image" Target="../media/image21.emf"/><Relationship Id="rId5" Type="http://schemas.openxmlformats.org/officeDocument/2006/relationships/oleObject" Target="../embeddings/oleObject68.bin"/><Relationship Id="rId4"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vmlDrawing" Target="../drawings/vmlDrawing69.vml"/><Relationship Id="rId5" Type="http://schemas.openxmlformats.org/officeDocument/2006/relationships/image" Target="../media/image21.emf"/><Relationship Id="rId4" Type="http://schemas.openxmlformats.org/officeDocument/2006/relationships/oleObject" Target="../embeddings/oleObject69.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3.xml"/><Relationship Id="rId1" Type="http://schemas.openxmlformats.org/officeDocument/2006/relationships/vmlDrawing" Target="../drawings/vmlDrawing70.vml"/><Relationship Id="rId5" Type="http://schemas.openxmlformats.org/officeDocument/2006/relationships/image" Target="../media/image21.emf"/><Relationship Id="rId4" Type="http://schemas.openxmlformats.org/officeDocument/2006/relationships/oleObject" Target="../embeddings/oleObject70.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vmlDrawing" Target="../drawings/vmlDrawing71.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1.bin"/></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72.vml"/><Relationship Id="rId6" Type="http://schemas.openxmlformats.org/officeDocument/2006/relationships/image" Target="../media/image21.emf"/><Relationship Id="rId5" Type="http://schemas.openxmlformats.org/officeDocument/2006/relationships/oleObject" Target="../embeddings/oleObject72.bin"/><Relationship Id="rId4"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7.xml"/><Relationship Id="rId1" Type="http://schemas.openxmlformats.org/officeDocument/2006/relationships/vmlDrawing" Target="../drawings/vmlDrawing73.vml"/><Relationship Id="rId5" Type="http://schemas.openxmlformats.org/officeDocument/2006/relationships/image" Target="../media/image21.emf"/><Relationship Id="rId4" Type="http://schemas.openxmlformats.org/officeDocument/2006/relationships/oleObject" Target="../embeddings/oleObject73.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vmlDrawing" Target="../drawings/vmlDrawing74.vml"/><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9.xml"/><Relationship Id="rId1" Type="http://schemas.openxmlformats.org/officeDocument/2006/relationships/vmlDrawing" Target="../drawings/vmlDrawing75.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5.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vmlDrawing" Target="../drawings/vmlDrawing76.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124.xml"/><Relationship Id="rId7" Type="http://schemas.openxmlformats.org/officeDocument/2006/relationships/image" Target="../media/image23.png"/><Relationship Id="rId2" Type="http://schemas.openxmlformats.org/officeDocument/2006/relationships/tags" Target="../tags/tag123.xml"/><Relationship Id="rId1" Type="http://schemas.openxmlformats.org/officeDocument/2006/relationships/vmlDrawing" Target="../drawings/vmlDrawing78.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25.png"/><Relationship Id="rId2" Type="http://schemas.openxmlformats.org/officeDocument/2006/relationships/tags" Target="../tags/tag125.xml"/><Relationship Id="rId1" Type="http://schemas.openxmlformats.org/officeDocument/2006/relationships/vmlDrawing" Target="../drawings/vmlDrawing79.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25.png"/><Relationship Id="rId2" Type="http://schemas.openxmlformats.org/officeDocument/2006/relationships/tags" Target="../tags/tag127.xml"/><Relationship Id="rId1" Type="http://schemas.openxmlformats.org/officeDocument/2006/relationships/vmlDrawing" Target="../drawings/vmlDrawing80.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9.xml"/><Relationship Id="rId1" Type="http://schemas.openxmlformats.org/officeDocument/2006/relationships/vmlDrawing" Target="../drawings/vmlDrawing81.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26.png"/><Relationship Id="rId2" Type="http://schemas.openxmlformats.org/officeDocument/2006/relationships/tags" Target="../tags/tag130.xml"/><Relationship Id="rId1" Type="http://schemas.openxmlformats.org/officeDocument/2006/relationships/vmlDrawing" Target="../drawings/vmlDrawing82.v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26.png"/><Relationship Id="rId2" Type="http://schemas.openxmlformats.org/officeDocument/2006/relationships/tags" Target="../tags/tag132.xml"/><Relationship Id="rId1" Type="http://schemas.openxmlformats.org/officeDocument/2006/relationships/vmlDrawing" Target="../drawings/vmlDrawing83.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4.xml"/><Relationship Id="rId1" Type="http://schemas.openxmlformats.org/officeDocument/2006/relationships/vmlDrawing" Target="../drawings/vmlDrawing84.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85.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86.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87.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88.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144.xml"/><Relationship Id="rId2" Type="http://schemas.openxmlformats.org/officeDocument/2006/relationships/tags" Target="../tags/tag143.xml"/><Relationship Id="rId1" Type="http://schemas.openxmlformats.org/officeDocument/2006/relationships/vmlDrawing" Target="../drawings/vmlDrawing89.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5.xml"/><Relationship Id="rId1" Type="http://schemas.openxmlformats.org/officeDocument/2006/relationships/vmlDrawing" Target="../drawings/vmlDrawing90.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46.xml"/><Relationship Id="rId1" Type="http://schemas.openxmlformats.org/officeDocument/2006/relationships/vmlDrawing" Target="../drawings/vmlDrawing91.vml"/><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148.xml"/><Relationship Id="rId7" Type="http://schemas.openxmlformats.org/officeDocument/2006/relationships/image" Target="../media/image27.png"/><Relationship Id="rId2" Type="http://schemas.openxmlformats.org/officeDocument/2006/relationships/tags" Target="../tags/tag147.xml"/><Relationship Id="rId1" Type="http://schemas.openxmlformats.org/officeDocument/2006/relationships/vmlDrawing" Target="../drawings/vmlDrawing92.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27.png"/><Relationship Id="rId2" Type="http://schemas.openxmlformats.org/officeDocument/2006/relationships/tags" Target="../tags/tag149.xml"/><Relationship Id="rId1" Type="http://schemas.openxmlformats.org/officeDocument/2006/relationships/vmlDrawing" Target="../drawings/vmlDrawing93.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152.xml"/><Relationship Id="rId7" Type="http://schemas.openxmlformats.org/officeDocument/2006/relationships/image" Target="../media/image27.png"/><Relationship Id="rId2" Type="http://schemas.openxmlformats.org/officeDocument/2006/relationships/tags" Target="../tags/tag151.xml"/><Relationship Id="rId1" Type="http://schemas.openxmlformats.org/officeDocument/2006/relationships/vmlDrawing" Target="../drawings/vmlDrawing94.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27.png"/><Relationship Id="rId2" Type="http://schemas.openxmlformats.org/officeDocument/2006/relationships/tags" Target="../tags/tag153.xml"/><Relationship Id="rId1" Type="http://schemas.openxmlformats.org/officeDocument/2006/relationships/vmlDrawing" Target="../drawings/vmlDrawing95.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156.xml"/><Relationship Id="rId7" Type="http://schemas.openxmlformats.org/officeDocument/2006/relationships/image" Target="../media/image27.png"/><Relationship Id="rId2" Type="http://schemas.openxmlformats.org/officeDocument/2006/relationships/tags" Target="../tags/tag155.xml"/><Relationship Id="rId1" Type="http://schemas.openxmlformats.org/officeDocument/2006/relationships/vmlDrawing" Target="../drawings/vmlDrawing96.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28.png"/><Relationship Id="rId2" Type="http://schemas.openxmlformats.org/officeDocument/2006/relationships/tags" Target="../tags/tag157.xml"/><Relationship Id="rId1" Type="http://schemas.openxmlformats.org/officeDocument/2006/relationships/vmlDrawing" Target="../drawings/vmlDrawing97.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160.xml"/><Relationship Id="rId7" Type="http://schemas.openxmlformats.org/officeDocument/2006/relationships/image" Target="../media/image29.png"/><Relationship Id="rId2" Type="http://schemas.openxmlformats.org/officeDocument/2006/relationships/tags" Target="../tags/tag159.xml"/><Relationship Id="rId1" Type="http://schemas.openxmlformats.org/officeDocument/2006/relationships/vmlDrawing" Target="../drawings/vmlDrawing98.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162.xml"/><Relationship Id="rId7" Type="http://schemas.openxmlformats.org/officeDocument/2006/relationships/image" Target="../media/image31.png"/><Relationship Id="rId2" Type="http://schemas.openxmlformats.org/officeDocument/2006/relationships/tags" Target="../tags/tag161.xml"/><Relationship Id="rId1" Type="http://schemas.openxmlformats.org/officeDocument/2006/relationships/vmlDrawing" Target="../drawings/vmlDrawing99.vml"/><Relationship Id="rId6" Type="http://schemas.openxmlformats.org/officeDocument/2006/relationships/image" Target="../media/image30.emf"/><Relationship Id="rId5" Type="http://schemas.openxmlformats.org/officeDocument/2006/relationships/oleObject" Target="../embeddings/oleObject23.bin"/><Relationship Id="rId4"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29.png"/><Relationship Id="rId2" Type="http://schemas.openxmlformats.org/officeDocument/2006/relationships/tags" Target="../tags/tag163.xml"/><Relationship Id="rId1" Type="http://schemas.openxmlformats.org/officeDocument/2006/relationships/vmlDrawing" Target="../drawings/vmlDrawing100.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166.xml"/><Relationship Id="rId7" Type="http://schemas.openxmlformats.org/officeDocument/2006/relationships/image" Target="../media/image28.png"/><Relationship Id="rId2" Type="http://schemas.openxmlformats.org/officeDocument/2006/relationships/tags" Target="../tags/tag165.xml"/><Relationship Id="rId1" Type="http://schemas.openxmlformats.org/officeDocument/2006/relationships/vmlDrawing" Target="../drawings/vmlDrawing101.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29.png"/><Relationship Id="rId2" Type="http://schemas.openxmlformats.org/officeDocument/2006/relationships/tags" Target="../tags/tag167.xml"/><Relationship Id="rId1" Type="http://schemas.openxmlformats.org/officeDocument/2006/relationships/vmlDrawing" Target="../drawings/vmlDrawing102.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170.xml"/><Relationship Id="rId7" Type="http://schemas.openxmlformats.org/officeDocument/2006/relationships/image" Target="../media/image28.png"/><Relationship Id="rId2" Type="http://schemas.openxmlformats.org/officeDocument/2006/relationships/tags" Target="../tags/tag169.xml"/><Relationship Id="rId1" Type="http://schemas.openxmlformats.org/officeDocument/2006/relationships/vmlDrawing" Target="../drawings/vmlDrawing103.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172.xml"/><Relationship Id="rId7" Type="http://schemas.openxmlformats.org/officeDocument/2006/relationships/image" Target="../media/image29.png"/><Relationship Id="rId2" Type="http://schemas.openxmlformats.org/officeDocument/2006/relationships/tags" Target="../tags/tag171.xml"/><Relationship Id="rId1" Type="http://schemas.openxmlformats.org/officeDocument/2006/relationships/vmlDrawing" Target="../drawings/vmlDrawing104.vml"/><Relationship Id="rId6" Type="http://schemas.openxmlformats.org/officeDocument/2006/relationships/image" Target="../media/image24.emf"/><Relationship Id="rId5" Type="http://schemas.openxmlformats.org/officeDocument/2006/relationships/oleObject" Target="../embeddings/oleObject28.bin"/><Relationship Id="rId4"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3.xml"/><Relationship Id="rId1" Type="http://schemas.openxmlformats.org/officeDocument/2006/relationships/vmlDrawing" Target="../drawings/vmlDrawing105.v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4.xml"/><Relationship Id="rId1" Type="http://schemas.openxmlformats.org/officeDocument/2006/relationships/vmlDrawing" Target="../drawings/vmlDrawing106.vml"/><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5.xml"/><Relationship Id="rId1" Type="http://schemas.openxmlformats.org/officeDocument/2006/relationships/vmlDrawing" Target="../drawings/vmlDrawing107.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108.vml"/><Relationship Id="rId6" Type="http://schemas.openxmlformats.org/officeDocument/2006/relationships/image" Target="../media/image24.emf"/><Relationship Id="rId5" Type="http://schemas.openxmlformats.org/officeDocument/2006/relationships/oleObject" Target="../embeddings/oleObject32.bin"/><Relationship Id="rId4"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8.xml"/><Relationship Id="rId1" Type="http://schemas.openxmlformats.org/officeDocument/2006/relationships/vmlDrawing" Target="../drawings/vmlDrawing109.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79.xml"/><Relationship Id="rId1" Type="http://schemas.openxmlformats.org/officeDocument/2006/relationships/vmlDrawing" Target="../drawings/vmlDrawing110.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0.xml"/><Relationship Id="rId1" Type="http://schemas.openxmlformats.org/officeDocument/2006/relationships/vmlDrawing" Target="../drawings/vmlDrawing111.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1.xml"/><Relationship Id="rId1" Type="http://schemas.openxmlformats.org/officeDocument/2006/relationships/vmlDrawing" Target="../drawings/vmlDrawing112.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2.xml"/><Relationship Id="rId1" Type="http://schemas.openxmlformats.org/officeDocument/2006/relationships/vmlDrawing" Target="../drawings/vmlDrawing113.vml"/><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3.xml"/><Relationship Id="rId1" Type="http://schemas.openxmlformats.org/officeDocument/2006/relationships/vmlDrawing" Target="../drawings/vmlDrawing11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115.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6.xml"/><Relationship Id="rId1" Type="http://schemas.openxmlformats.org/officeDocument/2006/relationships/vmlDrawing" Target="../drawings/vmlDrawing116.vml"/><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188.xml"/><Relationship Id="rId2" Type="http://schemas.openxmlformats.org/officeDocument/2006/relationships/tags" Target="../tags/tag187.xml"/><Relationship Id="rId1" Type="http://schemas.openxmlformats.org/officeDocument/2006/relationships/vmlDrawing" Target="../drawings/vmlDrawing117.vml"/><Relationship Id="rId6" Type="http://schemas.openxmlformats.org/officeDocument/2006/relationships/image" Target="../media/image24.emf"/><Relationship Id="rId5" Type="http://schemas.openxmlformats.org/officeDocument/2006/relationships/oleObject" Target="../embeddings/oleObject41.bin"/><Relationship Id="rId4"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18.vml"/><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19.vml"/><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192.xml"/><Relationship Id="rId7" Type="http://schemas.openxmlformats.org/officeDocument/2006/relationships/image" Target="../media/image27.png"/><Relationship Id="rId2" Type="http://schemas.openxmlformats.org/officeDocument/2006/relationships/tags" Target="../tags/tag191.xml"/><Relationship Id="rId1" Type="http://schemas.openxmlformats.org/officeDocument/2006/relationships/vmlDrawing" Target="../drawings/vmlDrawing120.vml"/><Relationship Id="rId6" Type="http://schemas.openxmlformats.org/officeDocument/2006/relationships/image" Target="../media/image24.emf"/><Relationship Id="rId5" Type="http://schemas.openxmlformats.org/officeDocument/2006/relationships/oleObject" Target="../embeddings/oleObject44.bin"/><Relationship Id="rId4"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image" Target="../media/image27.png"/><Relationship Id="rId2" Type="http://schemas.openxmlformats.org/officeDocument/2006/relationships/tags" Target="../tags/tag193.xml"/><Relationship Id="rId1" Type="http://schemas.openxmlformats.org/officeDocument/2006/relationships/vmlDrawing" Target="../drawings/vmlDrawing121.vml"/><Relationship Id="rId6" Type="http://schemas.openxmlformats.org/officeDocument/2006/relationships/image" Target="../media/image24.emf"/><Relationship Id="rId5" Type="http://schemas.openxmlformats.org/officeDocument/2006/relationships/oleObject" Target="../embeddings/oleObject45.bin"/><Relationship Id="rId4"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196.xml"/><Relationship Id="rId7" Type="http://schemas.openxmlformats.org/officeDocument/2006/relationships/image" Target="../media/image27.png"/><Relationship Id="rId2" Type="http://schemas.openxmlformats.org/officeDocument/2006/relationships/tags" Target="../tags/tag195.xml"/><Relationship Id="rId1" Type="http://schemas.openxmlformats.org/officeDocument/2006/relationships/vmlDrawing" Target="../drawings/vmlDrawing122.vml"/><Relationship Id="rId6" Type="http://schemas.openxmlformats.org/officeDocument/2006/relationships/image" Target="../media/image24.emf"/><Relationship Id="rId5" Type="http://schemas.openxmlformats.org/officeDocument/2006/relationships/oleObject" Target="../embeddings/oleObject46.bin"/><Relationship Id="rId4"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3" Type="http://schemas.openxmlformats.org/officeDocument/2006/relationships/tags" Target="../tags/tag198.xml"/><Relationship Id="rId7" Type="http://schemas.openxmlformats.org/officeDocument/2006/relationships/image" Target="../media/image27.png"/><Relationship Id="rId2" Type="http://schemas.openxmlformats.org/officeDocument/2006/relationships/tags" Target="../tags/tag197.xml"/><Relationship Id="rId1" Type="http://schemas.openxmlformats.org/officeDocument/2006/relationships/vmlDrawing" Target="../drawings/vmlDrawing123.vml"/><Relationship Id="rId6" Type="http://schemas.openxmlformats.org/officeDocument/2006/relationships/image" Target="../media/image24.emf"/><Relationship Id="rId5" Type="http://schemas.openxmlformats.org/officeDocument/2006/relationships/oleObject" Target="../embeddings/oleObject47.bin"/><Relationship Id="rId4"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27.png"/><Relationship Id="rId2" Type="http://schemas.openxmlformats.org/officeDocument/2006/relationships/tags" Target="../tags/tag199.xml"/><Relationship Id="rId1" Type="http://schemas.openxmlformats.org/officeDocument/2006/relationships/vmlDrawing" Target="../drawings/vmlDrawing124.vml"/><Relationship Id="rId6" Type="http://schemas.openxmlformats.org/officeDocument/2006/relationships/image" Target="../media/image24.emf"/><Relationship Id="rId5" Type="http://schemas.openxmlformats.org/officeDocument/2006/relationships/oleObject" Target="../embeddings/oleObject48.bin"/><Relationship Id="rId4"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3" Type="http://schemas.openxmlformats.org/officeDocument/2006/relationships/tags" Target="../tags/tag202.xml"/><Relationship Id="rId7" Type="http://schemas.openxmlformats.org/officeDocument/2006/relationships/image" Target="../media/image27.png"/><Relationship Id="rId2" Type="http://schemas.openxmlformats.org/officeDocument/2006/relationships/tags" Target="../tags/tag201.xml"/><Relationship Id="rId1" Type="http://schemas.openxmlformats.org/officeDocument/2006/relationships/vmlDrawing" Target="../drawings/vmlDrawing125.vml"/><Relationship Id="rId6" Type="http://schemas.openxmlformats.org/officeDocument/2006/relationships/image" Target="../media/image24.emf"/><Relationship Id="rId5" Type="http://schemas.openxmlformats.org/officeDocument/2006/relationships/oleObject" Target="../embeddings/oleObject49.bin"/><Relationship Id="rId4"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image" Target="../media/image28.png"/><Relationship Id="rId2" Type="http://schemas.openxmlformats.org/officeDocument/2006/relationships/tags" Target="../tags/tag203.xml"/><Relationship Id="rId1" Type="http://schemas.openxmlformats.org/officeDocument/2006/relationships/vmlDrawing" Target="../drawings/vmlDrawing126.vml"/><Relationship Id="rId6" Type="http://schemas.openxmlformats.org/officeDocument/2006/relationships/image" Target="../media/image30.emf"/><Relationship Id="rId5" Type="http://schemas.openxmlformats.org/officeDocument/2006/relationships/oleObject" Target="../embeddings/oleObject50.bin"/><Relationship Id="rId4"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image" Target="../media/image29.png"/><Relationship Id="rId2" Type="http://schemas.openxmlformats.org/officeDocument/2006/relationships/tags" Target="../tags/tag205.xml"/><Relationship Id="rId1" Type="http://schemas.openxmlformats.org/officeDocument/2006/relationships/vmlDrawing" Target="../drawings/vmlDrawing127.vml"/><Relationship Id="rId6" Type="http://schemas.openxmlformats.org/officeDocument/2006/relationships/image" Target="../media/image24.emf"/><Relationship Id="rId5" Type="http://schemas.openxmlformats.org/officeDocument/2006/relationships/oleObject" Target="../embeddings/oleObject51.bin"/><Relationship Id="rId4"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image" Target="../media/image31.png"/><Relationship Id="rId2" Type="http://schemas.openxmlformats.org/officeDocument/2006/relationships/tags" Target="../tags/tag207.xml"/><Relationship Id="rId1" Type="http://schemas.openxmlformats.org/officeDocument/2006/relationships/vmlDrawing" Target="../drawings/vmlDrawing128.vml"/><Relationship Id="rId6" Type="http://schemas.openxmlformats.org/officeDocument/2006/relationships/image" Target="../media/image24.emf"/><Relationship Id="rId5" Type="http://schemas.openxmlformats.org/officeDocument/2006/relationships/oleObject" Target="../embeddings/oleObject52.bin"/><Relationship Id="rId4"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3" Type="http://schemas.openxmlformats.org/officeDocument/2006/relationships/tags" Target="../tags/tag210.xml"/><Relationship Id="rId7" Type="http://schemas.openxmlformats.org/officeDocument/2006/relationships/image" Target="../media/image29.png"/><Relationship Id="rId2" Type="http://schemas.openxmlformats.org/officeDocument/2006/relationships/tags" Target="../tags/tag209.xml"/><Relationship Id="rId1" Type="http://schemas.openxmlformats.org/officeDocument/2006/relationships/vmlDrawing" Target="../drawings/vmlDrawing129.vml"/><Relationship Id="rId6" Type="http://schemas.openxmlformats.org/officeDocument/2006/relationships/image" Target="../media/image24.emf"/><Relationship Id="rId5" Type="http://schemas.openxmlformats.org/officeDocument/2006/relationships/oleObject" Target="../embeddings/oleObject53.bin"/><Relationship Id="rId4"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image" Target="../media/image28.png"/><Relationship Id="rId2" Type="http://schemas.openxmlformats.org/officeDocument/2006/relationships/tags" Target="../tags/tag211.xml"/><Relationship Id="rId1" Type="http://schemas.openxmlformats.org/officeDocument/2006/relationships/vmlDrawing" Target="../drawings/vmlDrawing130.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3" Type="http://schemas.openxmlformats.org/officeDocument/2006/relationships/tags" Target="../tags/tag214.xml"/><Relationship Id="rId7" Type="http://schemas.openxmlformats.org/officeDocument/2006/relationships/image" Target="../media/image29.png"/><Relationship Id="rId2" Type="http://schemas.openxmlformats.org/officeDocument/2006/relationships/tags" Target="../tags/tag213.xml"/><Relationship Id="rId1" Type="http://schemas.openxmlformats.org/officeDocument/2006/relationships/vmlDrawing" Target="../drawings/vmlDrawing131.vml"/><Relationship Id="rId6" Type="http://schemas.openxmlformats.org/officeDocument/2006/relationships/image" Target="../media/image24.emf"/><Relationship Id="rId5" Type="http://schemas.openxmlformats.org/officeDocument/2006/relationships/oleObject" Target="../embeddings/oleObject55.bin"/><Relationship Id="rId4"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3" Type="http://schemas.openxmlformats.org/officeDocument/2006/relationships/tags" Target="../tags/tag216.xml"/><Relationship Id="rId7" Type="http://schemas.openxmlformats.org/officeDocument/2006/relationships/image" Target="../media/image28.png"/><Relationship Id="rId2" Type="http://schemas.openxmlformats.org/officeDocument/2006/relationships/tags" Target="../tags/tag215.xml"/><Relationship Id="rId1" Type="http://schemas.openxmlformats.org/officeDocument/2006/relationships/vmlDrawing" Target="../drawings/vmlDrawing132.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3" Type="http://schemas.openxmlformats.org/officeDocument/2006/relationships/tags" Target="../tags/tag218.xml"/><Relationship Id="rId7" Type="http://schemas.openxmlformats.org/officeDocument/2006/relationships/image" Target="../media/image29.png"/><Relationship Id="rId2" Type="http://schemas.openxmlformats.org/officeDocument/2006/relationships/tags" Target="../tags/tag217.xml"/><Relationship Id="rId1" Type="http://schemas.openxmlformats.org/officeDocument/2006/relationships/vmlDrawing" Target="../drawings/vmlDrawing133.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134.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135.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136.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211.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vmlDrawing" Target="../drawings/vmlDrawing137.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138.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139.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140.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141.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142.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9.xml"/><Relationship Id="rId1" Type="http://schemas.openxmlformats.org/officeDocument/2006/relationships/vmlDrawing" Target="../drawings/vmlDrawing143.vml"/><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44.vml"/><Relationship Id="rId6" Type="http://schemas.openxmlformats.org/officeDocument/2006/relationships/image" Target="../media/image21.emf"/><Relationship Id="rId5" Type="http://schemas.openxmlformats.org/officeDocument/2006/relationships/oleObject" Target="../embeddings/oleObject68.bin"/><Relationship Id="rId4"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2.xml"/><Relationship Id="rId1" Type="http://schemas.openxmlformats.org/officeDocument/2006/relationships/vmlDrawing" Target="../drawings/vmlDrawing145.vml"/><Relationship Id="rId5" Type="http://schemas.openxmlformats.org/officeDocument/2006/relationships/image" Target="../media/image21.emf"/><Relationship Id="rId4" Type="http://schemas.openxmlformats.org/officeDocument/2006/relationships/oleObject" Target="../embeddings/oleObject69.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3.xml"/><Relationship Id="rId1" Type="http://schemas.openxmlformats.org/officeDocument/2006/relationships/vmlDrawing" Target="../drawings/vmlDrawing146.vml"/><Relationship Id="rId5" Type="http://schemas.openxmlformats.org/officeDocument/2006/relationships/image" Target="../media/image21.emf"/><Relationship Id="rId4" Type="http://schemas.openxmlformats.org/officeDocument/2006/relationships/oleObject" Target="../embeddings/oleObject70.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4.xml"/><Relationship Id="rId1" Type="http://schemas.openxmlformats.org/officeDocument/2006/relationships/vmlDrawing" Target="../drawings/vmlDrawing147.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1.bin"/></Relationships>
</file>

<file path=ppt/slideLayouts/_rels/slideLayout222.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tags" Target="../tags/tag235.xml"/><Relationship Id="rId1" Type="http://schemas.openxmlformats.org/officeDocument/2006/relationships/vmlDrawing" Target="../drawings/vmlDrawing148.vml"/><Relationship Id="rId6" Type="http://schemas.openxmlformats.org/officeDocument/2006/relationships/image" Target="../media/image21.emf"/><Relationship Id="rId5" Type="http://schemas.openxmlformats.org/officeDocument/2006/relationships/oleObject" Target="../embeddings/oleObject72.bin"/><Relationship Id="rId4"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7.xml"/><Relationship Id="rId1" Type="http://schemas.openxmlformats.org/officeDocument/2006/relationships/vmlDrawing" Target="../drawings/vmlDrawing149.vml"/><Relationship Id="rId5" Type="http://schemas.openxmlformats.org/officeDocument/2006/relationships/image" Target="../media/image21.emf"/><Relationship Id="rId4" Type="http://schemas.openxmlformats.org/officeDocument/2006/relationships/oleObject" Target="../embeddings/oleObject73.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8.xml"/><Relationship Id="rId1" Type="http://schemas.openxmlformats.org/officeDocument/2006/relationships/vmlDrawing" Target="../drawings/vmlDrawing150.vml"/><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9.xml"/><Relationship Id="rId1" Type="http://schemas.openxmlformats.org/officeDocument/2006/relationships/vmlDrawing" Target="../drawings/vmlDrawing151.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5.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0.xml"/><Relationship Id="rId1" Type="http://schemas.openxmlformats.org/officeDocument/2006/relationships/vmlDrawing" Target="../drawings/vmlDrawing152.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image" Target="../media/image23.png"/><Relationship Id="rId2" Type="http://schemas.openxmlformats.org/officeDocument/2006/relationships/tags" Target="../tags/tag243.xml"/><Relationship Id="rId1" Type="http://schemas.openxmlformats.org/officeDocument/2006/relationships/vmlDrawing" Target="../drawings/vmlDrawing154.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3" Type="http://schemas.openxmlformats.org/officeDocument/2006/relationships/tags" Target="../tags/tag246.xml"/><Relationship Id="rId7" Type="http://schemas.openxmlformats.org/officeDocument/2006/relationships/image" Target="../media/image25.png"/><Relationship Id="rId2" Type="http://schemas.openxmlformats.org/officeDocument/2006/relationships/tags" Target="../tags/tag245.xml"/><Relationship Id="rId1" Type="http://schemas.openxmlformats.org/officeDocument/2006/relationships/vmlDrawing" Target="../drawings/vmlDrawing155.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248.xml"/><Relationship Id="rId7" Type="http://schemas.openxmlformats.org/officeDocument/2006/relationships/image" Target="../media/image25.png"/><Relationship Id="rId2" Type="http://schemas.openxmlformats.org/officeDocument/2006/relationships/tags" Target="../tags/tag247.xml"/><Relationship Id="rId1" Type="http://schemas.openxmlformats.org/officeDocument/2006/relationships/vmlDrawing" Target="../drawings/vmlDrawing156.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9.xml"/><Relationship Id="rId1" Type="http://schemas.openxmlformats.org/officeDocument/2006/relationships/vmlDrawing" Target="../drawings/vmlDrawing157.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26.png"/><Relationship Id="rId2" Type="http://schemas.openxmlformats.org/officeDocument/2006/relationships/tags" Target="../tags/tag250.xml"/><Relationship Id="rId1" Type="http://schemas.openxmlformats.org/officeDocument/2006/relationships/vmlDrawing" Target="../drawings/vmlDrawing158.v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253.xml"/><Relationship Id="rId7" Type="http://schemas.openxmlformats.org/officeDocument/2006/relationships/image" Target="../media/image26.png"/><Relationship Id="rId2" Type="http://schemas.openxmlformats.org/officeDocument/2006/relationships/tags" Target="../tags/tag252.xml"/><Relationship Id="rId1" Type="http://schemas.openxmlformats.org/officeDocument/2006/relationships/vmlDrawing" Target="../drawings/vmlDrawing159.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4.xml"/><Relationship Id="rId1" Type="http://schemas.openxmlformats.org/officeDocument/2006/relationships/vmlDrawing" Target="../drawings/vmlDrawing160.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23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161.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vmlDrawing" Target="../drawings/vmlDrawing162.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260.xml"/><Relationship Id="rId2" Type="http://schemas.openxmlformats.org/officeDocument/2006/relationships/tags" Target="../tags/tag259.xml"/><Relationship Id="rId1" Type="http://schemas.openxmlformats.org/officeDocument/2006/relationships/vmlDrawing" Target="../drawings/vmlDrawing163.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262.xml"/><Relationship Id="rId2" Type="http://schemas.openxmlformats.org/officeDocument/2006/relationships/tags" Target="../tags/tag261.xml"/><Relationship Id="rId1" Type="http://schemas.openxmlformats.org/officeDocument/2006/relationships/vmlDrawing" Target="../drawings/vmlDrawing164.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264.xml"/><Relationship Id="rId2" Type="http://schemas.openxmlformats.org/officeDocument/2006/relationships/tags" Target="../tags/tag263.xml"/><Relationship Id="rId1" Type="http://schemas.openxmlformats.org/officeDocument/2006/relationships/vmlDrawing" Target="../drawings/vmlDrawing165.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5.xml"/><Relationship Id="rId1" Type="http://schemas.openxmlformats.org/officeDocument/2006/relationships/vmlDrawing" Target="../drawings/vmlDrawing166.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6.xml"/><Relationship Id="rId1" Type="http://schemas.openxmlformats.org/officeDocument/2006/relationships/vmlDrawing" Target="../drawings/vmlDrawing167.vml"/><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268.xml"/><Relationship Id="rId7" Type="http://schemas.openxmlformats.org/officeDocument/2006/relationships/image" Target="../media/image27.png"/><Relationship Id="rId2" Type="http://schemas.openxmlformats.org/officeDocument/2006/relationships/tags" Target="../tags/tag267.xml"/><Relationship Id="rId1" Type="http://schemas.openxmlformats.org/officeDocument/2006/relationships/vmlDrawing" Target="../drawings/vmlDrawing168.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270.xml"/><Relationship Id="rId7" Type="http://schemas.openxmlformats.org/officeDocument/2006/relationships/image" Target="../media/image27.png"/><Relationship Id="rId2" Type="http://schemas.openxmlformats.org/officeDocument/2006/relationships/tags" Target="../tags/tag269.xml"/><Relationship Id="rId1" Type="http://schemas.openxmlformats.org/officeDocument/2006/relationships/vmlDrawing" Target="../drawings/vmlDrawing169.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272.xml"/><Relationship Id="rId7" Type="http://schemas.openxmlformats.org/officeDocument/2006/relationships/image" Target="../media/image27.png"/><Relationship Id="rId2" Type="http://schemas.openxmlformats.org/officeDocument/2006/relationships/tags" Target="../tags/tag271.xml"/><Relationship Id="rId1" Type="http://schemas.openxmlformats.org/officeDocument/2006/relationships/vmlDrawing" Target="../drawings/vmlDrawing170.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27.png"/><Relationship Id="rId2" Type="http://schemas.openxmlformats.org/officeDocument/2006/relationships/tags" Target="../tags/tag273.xml"/><Relationship Id="rId1" Type="http://schemas.openxmlformats.org/officeDocument/2006/relationships/vmlDrawing" Target="../drawings/vmlDrawing171.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276.xml"/><Relationship Id="rId7" Type="http://schemas.openxmlformats.org/officeDocument/2006/relationships/image" Target="../media/image27.png"/><Relationship Id="rId2" Type="http://schemas.openxmlformats.org/officeDocument/2006/relationships/tags" Target="../tags/tag275.xml"/><Relationship Id="rId1" Type="http://schemas.openxmlformats.org/officeDocument/2006/relationships/vmlDrawing" Target="../drawings/vmlDrawing172.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3" Type="http://schemas.openxmlformats.org/officeDocument/2006/relationships/tags" Target="../tags/tag278.xml"/><Relationship Id="rId7" Type="http://schemas.openxmlformats.org/officeDocument/2006/relationships/image" Target="../media/image28.png"/><Relationship Id="rId2" Type="http://schemas.openxmlformats.org/officeDocument/2006/relationships/tags" Target="../tags/tag277.xml"/><Relationship Id="rId1" Type="http://schemas.openxmlformats.org/officeDocument/2006/relationships/vmlDrawing" Target="../drawings/vmlDrawing173.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image" Target="../media/image29.png"/><Relationship Id="rId2" Type="http://schemas.openxmlformats.org/officeDocument/2006/relationships/tags" Target="../tags/tag279.xml"/><Relationship Id="rId1" Type="http://schemas.openxmlformats.org/officeDocument/2006/relationships/vmlDrawing" Target="../drawings/vmlDrawing174.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image" Target="../media/image31.png"/><Relationship Id="rId2" Type="http://schemas.openxmlformats.org/officeDocument/2006/relationships/tags" Target="../tags/tag281.xml"/><Relationship Id="rId1" Type="http://schemas.openxmlformats.org/officeDocument/2006/relationships/vmlDrawing" Target="../drawings/vmlDrawing175.vml"/><Relationship Id="rId6" Type="http://schemas.openxmlformats.org/officeDocument/2006/relationships/image" Target="../media/image30.emf"/><Relationship Id="rId5" Type="http://schemas.openxmlformats.org/officeDocument/2006/relationships/oleObject" Target="../embeddings/oleObject23.bin"/><Relationship Id="rId4"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tags" Target="../tags/tag284.xml"/><Relationship Id="rId7" Type="http://schemas.openxmlformats.org/officeDocument/2006/relationships/image" Target="../media/image29.png"/><Relationship Id="rId2" Type="http://schemas.openxmlformats.org/officeDocument/2006/relationships/tags" Target="../tags/tag283.xml"/><Relationship Id="rId1" Type="http://schemas.openxmlformats.org/officeDocument/2006/relationships/vmlDrawing" Target="../drawings/vmlDrawing176.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image" Target="../media/image28.png"/><Relationship Id="rId2" Type="http://schemas.openxmlformats.org/officeDocument/2006/relationships/tags" Target="../tags/tag285.xml"/><Relationship Id="rId1" Type="http://schemas.openxmlformats.org/officeDocument/2006/relationships/vmlDrawing" Target="../drawings/vmlDrawing177.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3" Type="http://schemas.openxmlformats.org/officeDocument/2006/relationships/tags" Target="../tags/tag288.xml"/><Relationship Id="rId7" Type="http://schemas.openxmlformats.org/officeDocument/2006/relationships/image" Target="../media/image29.png"/><Relationship Id="rId2" Type="http://schemas.openxmlformats.org/officeDocument/2006/relationships/tags" Target="../tags/tag287.xml"/><Relationship Id="rId1" Type="http://schemas.openxmlformats.org/officeDocument/2006/relationships/vmlDrawing" Target="../drawings/vmlDrawing178.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3" Type="http://schemas.openxmlformats.org/officeDocument/2006/relationships/tags" Target="../tags/tag290.xml"/><Relationship Id="rId7" Type="http://schemas.openxmlformats.org/officeDocument/2006/relationships/image" Target="../media/image28.png"/><Relationship Id="rId2" Type="http://schemas.openxmlformats.org/officeDocument/2006/relationships/tags" Target="../tags/tag289.xml"/><Relationship Id="rId1" Type="http://schemas.openxmlformats.org/officeDocument/2006/relationships/vmlDrawing" Target="../drawings/vmlDrawing179.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29.png"/><Relationship Id="rId2" Type="http://schemas.openxmlformats.org/officeDocument/2006/relationships/tags" Target="../tags/tag291.xml"/><Relationship Id="rId1" Type="http://schemas.openxmlformats.org/officeDocument/2006/relationships/vmlDrawing" Target="../drawings/vmlDrawing180.vml"/><Relationship Id="rId6" Type="http://schemas.openxmlformats.org/officeDocument/2006/relationships/image" Target="../media/image24.emf"/><Relationship Id="rId5" Type="http://schemas.openxmlformats.org/officeDocument/2006/relationships/oleObject" Target="../embeddings/oleObject28.bin"/><Relationship Id="rId4"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3.xml"/><Relationship Id="rId1" Type="http://schemas.openxmlformats.org/officeDocument/2006/relationships/vmlDrawing" Target="../drawings/vmlDrawing181.v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2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4.xml"/><Relationship Id="rId1" Type="http://schemas.openxmlformats.org/officeDocument/2006/relationships/vmlDrawing" Target="../drawings/vmlDrawing182.vml"/><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5.xml"/><Relationship Id="rId1" Type="http://schemas.openxmlformats.org/officeDocument/2006/relationships/vmlDrawing" Target="../drawings/vmlDrawing183.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257.xml.rels><?xml version="1.0" encoding="UTF-8" standalone="yes"?>
<Relationships xmlns="http://schemas.openxmlformats.org/package/2006/relationships"><Relationship Id="rId3" Type="http://schemas.openxmlformats.org/officeDocument/2006/relationships/tags" Target="../tags/tag297.xml"/><Relationship Id="rId2" Type="http://schemas.openxmlformats.org/officeDocument/2006/relationships/tags" Target="../tags/tag296.xml"/><Relationship Id="rId1" Type="http://schemas.openxmlformats.org/officeDocument/2006/relationships/vmlDrawing" Target="../drawings/vmlDrawing184.vml"/><Relationship Id="rId6" Type="http://schemas.openxmlformats.org/officeDocument/2006/relationships/image" Target="../media/image24.emf"/><Relationship Id="rId5" Type="http://schemas.openxmlformats.org/officeDocument/2006/relationships/oleObject" Target="../embeddings/oleObject32.bin"/><Relationship Id="rId4"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8.xml"/><Relationship Id="rId1" Type="http://schemas.openxmlformats.org/officeDocument/2006/relationships/vmlDrawing" Target="../drawings/vmlDrawing185.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9.xml"/><Relationship Id="rId1" Type="http://schemas.openxmlformats.org/officeDocument/2006/relationships/vmlDrawing" Target="../drawings/vmlDrawing186.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0.xml"/><Relationship Id="rId1" Type="http://schemas.openxmlformats.org/officeDocument/2006/relationships/vmlDrawing" Target="../drawings/vmlDrawing187.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1.xml"/><Relationship Id="rId1" Type="http://schemas.openxmlformats.org/officeDocument/2006/relationships/vmlDrawing" Target="../drawings/vmlDrawing188.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2.xml"/><Relationship Id="rId1" Type="http://schemas.openxmlformats.org/officeDocument/2006/relationships/vmlDrawing" Target="../drawings/vmlDrawing189.vml"/><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3.xml"/><Relationship Id="rId1" Type="http://schemas.openxmlformats.org/officeDocument/2006/relationships/vmlDrawing" Target="../drawings/vmlDrawing190.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264.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tags" Target="../tags/tag304.xml"/><Relationship Id="rId1" Type="http://schemas.openxmlformats.org/officeDocument/2006/relationships/vmlDrawing" Target="../drawings/vmlDrawing191.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6.xml"/><Relationship Id="rId1" Type="http://schemas.openxmlformats.org/officeDocument/2006/relationships/vmlDrawing" Target="../drawings/vmlDrawing192.vml"/><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266.xml.rels><?xml version="1.0" encoding="UTF-8" standalone="yes"?>
<Relationships xmlns="http://schemas.openxmlformats.org/package/2006/relationships"><Relationship Id="rId3" Type="http://schemas.openxmlformats.org/officeDocument/2006/relationships/tags" Target="../tags/tag308.xml"/><Relationship Id="rId2" Type="http://schemas.openxmlformats.org/officeDocument/2006/relationships/tags" Target="../tags/tag307.xml"/><Relationship Id="rId1" Type="http://schemas.openxmlformats.org/officeDocument/2006/relationships/vmlDrawing" Target="../drawings/vmlDrawing193.vml"/><Relationship Id="rId6" Type="http://schemas.openxmlformats.org/officeDocument/2006/relationships/image" Target="../media/image24.emf"/><Relationship Id="rId5" Type="http://schemas.openxmlformats.org/officeDocument/2006/relationships/oleObject" Target="../embeddings/oleObject41.bin"/><Relationship Id="rId4"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9.xml"/><Relationship Id="rId1" Type="http://schemas.openxmlformats.org/officeDocument/2006/relationships/vmlDrawing" Target="../drawings/vmlDrawing194.vml"/><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0.xml"/><Relationship Id="rId1" Type="http://schemas.openxmlformats.org/officeDocument/2006/relationships/vmlDrawing" Target="../drawings/vmlDrawing195.vml"/><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269.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image" Target="../media/image27.png"/><Relationship Id="rId2" Type="http://schemas.openxmlformats.org/officeDocument/2006/relationships/tags" Target="../tags/tag311.xml"/><Relationship Id="rId1" Type="http://schemas.openxmlformats.org/officeDocument/2006/relationships/vmlDrawing" Target="../drawings/vmlDrawing196.vml"/><Relationship Id="rId6" Type="http://schemas.openxmlformats.org/officeDocument/2006/relationships/image" Target="../media/image24.emf"/><Relationship Id="rId5" Type="http://schemas.openxmlformats.org/officeDocument/2006/relationships/oleObject" Target="../embeddings/oleObject44.bin"/><Relationship Id="rId4"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tags" Target="../tags/tag314.xml"/><Relationship Id="rId7" Type="http://schemas.openxmlformats.org/officeDocument/2006/relationships/image" Target="../media/image27.png"/><Relationship Id="rId2" Type="http://schemas.openxmlformats.org/officeDocument/2006/relationships/tags" Target="../tags/tag313.xml"/><Relationship Id="rId1" Type="http://schemas.openxmlformats.org/officeDocument/2006/relationships/vmlDrawing" Target="../drawings/vmlDrawing197.vml"/><Relationship Id="rId6" Type="http://schemas.openxmlformats.org/officeDocument/2006/relationships/image" Target="../media/image24.emf"/><Relationship Id="rId5" Type="http://schemas.openxmlformats.org/officeDocument/2006/relationships/oleObject" Target="../embeddings/oleObject45.bin"/><Relationship Id="rId4"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image" Target="../media/image27.png"/><Relationship Id="rId2" Type="http://schemas.openxmlformats.org/officeDocument/2006/relationships/tags" Target="../tags/tag315.xml"/><Relationship Id="rId1" Type="http://schemas.openxmlformats.org/officeDocument/2006/relationships/vmlDrawing" Target="../drawings/vmlDrawing198.vml"/><Relationship Id="rId6" Type="http://schemas.openxmlformats.org/officeDocument/2006/relationships/image" Target="../media/image24.emf"/><Relationship Id="rId5" Type="http://schemas.openxmlformats.org/officeDocument/2006/relationships/oleObject" Target="../embeddings/oleObject46.bin"/><Relationship Id="rId4"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3" Type="http://schemas.openxmlformats.org/officeDocument/2006/relationships/tags" Target="../tags/tag318.xml"/><Relationship Id="rId7" Type="http://schemas.openxmlformats.org/officeDocument/2006/relationships/image" Target="../media/image27.png"/><Relationship Id="rId2" Type="http://schemas.openxmlformats.org/officeDocument/2006/relationships/tags" Target="../tags/tag317.xml"/><Relationship Id="rId1" Type="http://schemas.openxmlformats.org/officeDocument/2006/relationships/vmlDrawing" Target="../drawings/vmlDrawing199.vml"/><Relationship Id="rId6" Type="http://schemas.openxmlformats.org/officeDocument/2006/relationships/image" Target="../media/image24.emf"/><Relationship Id="rId5" Type="http://schemas.openxmlformats.org/officeDocument/2006/relationships/oleObject" Target="../embeddings/oleObject47.bin"/><Relationship Id="rId4"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image" Target="../media/image27.png"/><Relationship Id="rId2" Type="http://schemas.openxmlformats.org/officeDocument/2006/relationships/tags" Target="../tags/tag319.xml"/><Relationship Id="rId1" Type="http://schemas.openxmlformats.org/officeDocument/2006/relationships/vmlDrawing" Target="../drawings/vmlDrawing200.vml"/><Relationship Id="rId6" Type="http://schemas.openxmlformats.org/officeDocument/2006/relationships/image" Target="../media/image24.emf"/><Relationship Id="rId5" Type="http://schemas.openxmlformats.org/officeDocument/2006/relationships/oleObject" Target="../embeddings/oleObject48.bin"/><Relationship Id="rId4"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322.xml"/><Relationship Id="rId7" Type="http://schemas.openxmlformats.org/officeDocument/2006/relationships/image" Target="../media/image27.png"/><Relationship Id="rId2" Type="http://schemas.openxmlformats.org/officeDocument/2006/relationships/tags" Target="../tags/tag321.xml"/><Relationship Id="rId1" Type="http://schemas.openxmlformats.org/officeDocument/2006/relationships/vmlDrawing" Target="../drawings/vmlDrawing201.vml"/><Relationship Id="rId6" Type="http://schemas.openxmlformats.org/officeDocument/2006/relationships/image" Target="../media/image24.emf"/><Relationship Id="rId5" Type="http://schemas.openxmlformats.org/officeDocument/2006/relationships/oleObject" Target="../embeddings/oleObject49.bin"/><Relationship Id="rId4"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image" Target="../media/image28.png"/><Relationship Id="rId2" Type="http://schemas.openxmlformats.org/officeDocument/2006/relationships/tags" Target="../tags/tag323.xml"/><Relationship Id="rId1" Type="http://schemas.openxmlformats.org/officeDocument/2006/relationships/vmlDrawing" Target="../drawings/vmlDrawing202.vml"/><Relationship Id="rId6" Type="http://schemas.openxmlformats.org/officeDocument/2006/relationships/image" Target="../media/image30.emf"/><Relationship Id="rId5" Type="http://schemas.openxmlformats.org/officeDocument/2006/relationships/oleObject" Target="../embeddings/oleObject50.bin"/><Relationship Id="rId4"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3" Type="http://schemas.openxmlformats.org/officeDocument/2006/relationships/tags" Target="../tags/tag326.xml"/><Relationship Id="rId7" Type="http://schemas.openxmlformats.org/officeDocument/2006/relationships/image" Target="../media/image29.png"/><Relationship Id="rId2" Type="http://schemas.openxmlformats.org/officeDocument/2006/relationships/tags" Target="../tags/tag325.xml"/><Relationship Id="rId1" Type="http://schemas.openxmlformats.org/officeDocument/2006/relationships/vmlDrawing" Target="../drawings/vmlDrawing203.vml"/><Relationship Id="rId6" Type="http://schemas.openxmlformats.org/officeDocument/2006/relationships/image" Target="../media/image24.emf"/><Relationship Id="rId5" Type="http://schemas.openxmlformats.org/officeDocument/2006/relationships/oleObject" Target="../embeddings/oleObject51.bin"/><Relationship Id="rId4"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3" Type="http://schemas.openxmlformats.org/officeDocument/2006/relationships/tags" Target="../tags/tag328.xml"/><Relationship Id="rId7" Type="http://schemas.openxmlformats.org/officeDocument/2006/relationships/image" Target="../media/image31.png"/><Relationship Id="rId2" Type="http://schemas.openxmlformats.org/officeDocument/2006/relationships/tags" Target="../tags/tag327.xml"/><Relationship Id="rId1" Type="http://schemas.openxmlformats.org/officeDocument/2006/relationships/vmlDrawing" Target="../drawings/vmlDrawing204.vml"/><Relationship Id="rId6" Type="http://schemas.openxmlformats.org/officeDocument/2006/relationships/image" Target="../media/image24.emf"/><Relationship Id="rId5" Type="http://schemas.openxmlformats.org/officeDocument/2006/relationships/oleObject" Target="../embeddings/oleObject52.bin"/><Relationship Id="rId4"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3" Type="http://schemas.openxmlformats.org/officeDocument/2006/relationships/tags" Target="../tags/tag330.xml"/><Relationship Id="rId7" Type="http://schemas.openxmlformats.org/officeDocument/2006/relationships/image" Target="../media/image29.png"/><Relationship Id="rId2" Type="http://schemas.openxmlformats.org/officeDocument/2006/relationships/tags" Target="../tags/tag329.xml"/><Relationship Id="rId1" Type="http://schemas.openxmlformats.org/officeDocument/2006/relationships/vmlDrawing" Target="../drawings/vmlDrawing205.vml"/><Relationship Id="rId6" Type="http://schemas.openxmlformats.org/officeDocument/2006/relationships/image" Target="../media/image24.emf"/><Relationship Id="rId5" Type="http://schemas.openxmlformats.org/officeDocument/2006/relationships/oleObject" Target="../embeddings/oleObject53.bin"/><Relationship Id="rId4"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tags" Target="../tags/tag332.xml"/><Relationship Id="rId7" Type="http://schemas.openxmlformats.org/officeDocument/2006/relationships/image" Target="../media/image28.png"/><Relationship Id="rId2" Type="http://schemas.openxmlformats.org/officeDocument/2006/relationships/tags" Target="../tags/tag331.xml"/><Relationship Id="rId1" Type="http://schemas.openxmlformats.org/officeDocument/2006/relationships/vmlDrawing" Target="../drawings/vmlDrawing206.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image" Target="../media/image29.png"/><Relationship Id="rId2" Type="http://schemas.openxmlformats.org/officeDocument/2006/relationships/tags" Target="../tags/tag333.xml"/><Relationship Id="rId1" Type="http://schemas.openxmlformats.org/officeDocument/2006/relationships/vmlDrawing" Target="../drawings/vmlDrawing207.vml"/><Relationship Id="rId6" Type="http://schemas.openxmlformats.org/officeDocument/2006/relationships/image" Target="../media/image24.emf"/><Relationship Id="rId5" Type="http://schemas.openxmlformats.org/officeDocument/2006/relationships/oleObject" Target="../embeddings/oleObject55.bin"/><Relationship Id="rId4"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3" Type="http://schemas.openxmlformats.org/officeDocument/2006/relationships/tags" Target="../tags/tag336.xml"/><Relationship Id="rId7" Type="http://schemas.openxmlformats.org/officeDocument/2006/relationships/image" Target="../media/image28.png"/><Relationship Id="rId2" Type="http://schemas.openxmlformats.org/officeDocument/2006/relationships/tags" Target="../tags/tag335.xml"/><Relationship Id="rId1" Type="http://schemas.openxmlformats.org/officeDocument/2006/relationships/vmlDrawing" Target="../drawings/vmlDrawing208.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image" Target="../media/image29.png"/><Relationship Id="rId2" Type="http://schemas.openxmlformats.org/officeDocument/2006/relationships/tags" Target="../tags/tag337.xml"/><Relationship Id="rId1" Type="http://schemas.openxmlformats.org/officeDocument/2006/relationships/vmlDrawing" Target="../drawings/vmlDrawing209.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9.xml"/><Relationship Id="rId1" Type="http://schemas.openxmlformats.org/officeDocument/2006/relationships/vmlDrawing" Target="../drawings/vmlDrawing210.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vmlDrawing" Target="../drawings/vmlDrawing211.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1.xml"/><Relationship Id="rId1" Type="http://schemas.openxmlformats.org/officeDocument/2006/relationships/vmlDrawing" Target="../drawings/vmlDrawing212.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286.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213.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vmlDrawing" Target="../drawings/vmlDrawing214.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5.xml"/><Relationship Id="rId1" Type="http://schemas.openxmlformats.org/officeDocument/2006/relationships/vmlDrawing" Target="../drawings/vmlDrawing215.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6.xml"/><Relationship Id="rId1" Type="http://schemas.openxmlformats.org/officeDocument/2006/relationships/vmlDrawing" Target="../drawings/vmlDrawing216.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7.xml"/><Relationship Id="rId1" Type="http://schemas.openxmlformats.org/officeDocument/2006/relationships/vmlDrawing" Target="../drawings/vmlDrawing217.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8.xml"/><Relationship Id="rId1" Type="http://schemas.openxmlformats.org/officeDocument/2006/relationships/vmlDrawing" Target="../drawings/vmlDrawing218.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9.xml"/><Relationship Id="rId1" Type="http://schemas.openxmlformats.org/officeDocument/2006/relationships/vmlDrawing" Target="../drawings/vmlDrawing219.vml"/><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293.xml.rels><?xml version="1.0" encoding="UTF-8" standalone="yes"?>
<Relationships xmlns="http://schemas.openxmlformats.org/package/2006/relationships"><Relationship Id="rId3" Type="http://schemas.openxmlformats.org/officeDocument/2006/relationships/tags" Target="../tags/tag351.xml"/><Relationship Id="rId2" Type="http://schemas.openxmlformats.org/officeDocument/2006/relationships/tags" Target="../tags/tag350.xml"/><Relationship Id="rId1" Type="http://schemas.openxmlformats.org/officeDocument/2006/relationships/vmlDrawing" Target="../drawings/vmlDrawing220.vml"/><Relationship Id="rId6" Type="http://schemas.openxmlformats.org/officeDocument/2006/relationships/image" Target="../media/image21.emf"/><Relationship Id="rId5" Type="http://schemas.openxmlformats.org/officeDocument/2006/relationships/oleObject" Target="../embeddings/oleObject68.bin"/><Relationship Id="rId4"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2.xml"/><Relationship Id="rId1" Type="http://schemas.openxmlformats.org/officeDocument/2006/relationships/vmlDrawing" Target="../drawings/vmlDrawing221.vml"/><Relationship Id="rId5" Type="http://schemas.openxmlformats.org/officeDocument/2006/relationships/image" Target="../media/image21.emf"/><Relationship Id="rId4" Type="http://schemas.openxmlformats.org/officeDocument/2006/relationships/oleObject" Target="../embeddings/oleObject69.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3.xml"/><Relationship Id="rId1" Type="http://schemas.openxmlformats.org/officeDocument/2006/relationships/vmlDrawing" Target="../drawings/vmlDrawing222.vml"/><Relationship Id="rId5" Type="http://schemas.openxmlformats.org/officeDocument/2006/relationships/image" Target="../media/image21.emf"/><Relationship Id="rId4" Type="http://schemas.openxmlformats.org/officeDocument/2006/relationships/oleObject" Target="../embeddings/oleObject70.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4.xml"/><Relationship Id="rId1" Type="http://schemas.openxmlformats.org/officeDocument/2006/relationships/vmlDrawing" Target="../drawings/vmlDrawing223.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1.bin"/></Relationships>
</file>

<file path=ppt/slideLayouts/_rels/slideLayout297.xml.rels><?xml version="1.0" encoding="UTF-8" standalone="yes"?>
<Relationships xmlns="http://schemas.openxmlformats.org/package/2006/relationships"><Relationship Id="rId3" Type="http://schemas.openxmlformats.org/officeDocument/2006/relationships/tags" Target="../tags/tag356.xml"/><Relationship Id="rId2" Type="http://schemas.openxmlformats.org/officeDocument/2006/relationships/tags" Target="../tags/tag355.xml"/><Relationship Id="rId1" Type="http://schemas.openxmlformats.org/officeDocument/2006/relationships/vmlDrawing" Target="../drawings/vmlDrawing224.vml"/><Relationship Id="rId6" Type="http://schemas.openxmlformats.org/officeDocument/2006/relationships/image" Target="../media/image21.emf"/><Relationship Id="rId5" Type="http://schemas.openxmlformats.org/officeDocument/2006/relationships/oleObject" Target="../embeddings/oleObject72.bin"/><Relationship Id="rId4"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7.xml"/><Relationship Id="rId1" Type="http://schemas.openxmlformats.org/officeDocument/2006/relationships/vmlDrawing" Target="../drawings/vmlDrawing225.vml"/><Relationship Id="rId5" Type="http://schemas.openxmlformats.org/officeDocument/2006/relationships/image" Target="../media/image21.emf"/><Relationship Id="rId4" Type="http://schemas.openxmlformats.org/officeDocument/2006/relationships/oleObject" Target="../embeddings/oleObject73.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8.xml"/><Relationship Id="rId1" Type="http://schemas.openxmlformats.org/officeDocument/2006/relationships/vmlDrawing" Target="../drawings/vmlDrawing226.vml"/><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9.xml"/><Relationship Id="rId1" Type="http://schemas.openxmlformats.org/officeDocument/2006/relationships/vmlDrawing" Target="../drawings/vmlDrawing227.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5.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0.xml"/><Relationship Id="rId1" Type="http://schemas.openxmlformats.org/officeDocument/2006/relationships/vmlDrawing" Target="../drawings/vmlDrawing228.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302.xml.rels><?xml version="1.0" encoding="UTF-8" standalone="yes"?>
<Relationships xmlns="http://schemas.openxmlformats.org/package/2006/relationships"><Relationship Id="rId3" Type="http://schemas.openxmlformats.org/officeDocument/2006/relationships/tags" Target="../tags/tag364.xml"/><Relationship Id="rId7" Type="http://schemas.openxmlformats.org/officeDocument/2006/relationships/image" Target="../media/image23.png"/><Relationship Id="rId2" Type="http://schemas.openxmlformats.org/officeDocument/2006/relationships/tags" Target="../tags/tag363.xml"/><Relationship Id="rId1" Type="http://schemas.openxmlformats.org/officeDocument/2006/relationships/vmlDrawing" Target="../drawings/vmlDrawing230.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25.png"/><Relationship Id="rId2" Type="http://schemas.openxmlformats.org/officeDocument/2006/relationships/tags" Target="../tags/tag365.xml"/><Relationship Id="rId1" Type="http://schemas.openxmlformats.org/officeDocument/2006/relationships/vmlDrawing" Target="../drawings/vmlDrawing231.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3" Type="http://schemas.openxmlformats.org/officeDocument/2006/relationships/tags" Target="../tags/tag368.xml"/><Relationship Id="rId7" Type="http://schemas.openxmlformats.org/officeDocument/2006/relationships/image" Target="../media/image25.png"/><Relationship Id="rId2" Type="http://schemas.openxmlformats.org/officeDocument/2006/relationships/tags" Target="../tags/tag367.xml"/><Relationship Id="rId1" Type="http://schemas.openxmlformats.org/officeDocument/2006/relationships/vmlDrawing" Target="../drawings/vmlDrawing232.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69.xml"/><Relationship Id="rId1" Type="http://schemas.openxmlformats.org/officeDocument/2006/relationships/vmlDrawing" Target="../drawings/vmlDrawing233.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306.xml.rels><?xml version="1.0" encoding="UTF-8" standalone="yes"?>
<Relationships xmlns="http://schemas.openxmlformats.org/package/2006/relationships"><Relationship Id="rId3" Type="http://schemas.openxmlformats.org/officeDocument/2006/relationships/tags" Target="../tags/tag371.xml"/><Relationship Id="rId7" Type="http://schemas.openxmlformats.org/officeDocument/2006/relationships/image" Target="../media/image26.png"/><Relationship Id="rId2" Type="http://schemas.openxmlformats.org/officeDocument/2006/relationships/tags" Target="../tags/tag370.xml"/><Relationship Id="rId1" Type="http://schemas.openxmlformats.org/officeDocument/2006/relationships/vmlDrawing" Target="../drawings/vmlDrawing234.v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3" Type="http://schemas.openxmlformats.org/officeDocument/2006/relationships/tags" Target="../tags/tag373.xml"/><Relationship Id="rId7" Type="http://schemas.openxmlformats.org/officeDocument/2006/relationships/image" Target="../media/image26.png"/><Relationship Id="rId2" Type="http://schemas.openxmlformats.org/officeDocument/2006/relationships/tags" Target="../tags/tag372.xml"/><Relationship Id="rId1" Type="http://schemas.openxmlformats.org/officeDocument/2006/relationships/vmlDrawing" Target="../drawings/vmlDrawing235.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74.xml"/><Relationship Id="rId1" Type="http://schemas.openxmlformats.org/officeDocument/2006/relationships/vmlDrawing" Target="../drawings/vmlDrawing236.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309.xml.rels><?xml version="1.0" encoding="UTF-8" standalone="yes"?>
<Relationships xmlns="http://schemas.openxmlformats.org/package/2006/relationships"><Relationship Id="rId3" Type="http://schemas.openxmlformats.org/officeDocument/2006/relationships/tags" Target="../tags/tag376.xml"/><Relationship Id="rId2" Type="http://schemas.openxmlformats.org/officeDocument/2006/relationships/tags" Target="../tags/tag375.xml"/><Relationship Id="rId1" Type="http://schemas.openxmlformats.org/officeDocument/2006/relationships/vmlDrawing" Target="../drawings/vmlDrawing237.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238.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3" Type="http://schemas.openxmlformats.org/officeDocument/2006/relationships/tags" Target="../tags/tag380.xml"/><Relationship Id="rId2" Type="http://schemas.openxmlformats.org/officeDocument/2006/relationships/tags" Target="../tags/tag379.xml"/><Relationship Id="rId1" Type="http://schemas.openxmlformats.org/officeDocument/2006/relationships/vmlDrawing" Target="../drawings/vmlDrawing239.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3" Type="http://schemas.openxmlformats.org/officeDocument/2006/relationships/tags" Target="../tags/tag382.xml"/><Relationship Id="rId2" Type="http://schemas.openxmlformats.org/officeDocument/2006/relationships/tags" Target="../tags/tag381.xml"/><Relationship Id="rId1" Type="http://schemas.openxmlformats.org/officeDocument/2006/relationships/vmlDrawing" Target="../drawings/vmlDrawing240.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vmlDrawing" Target="../drawings/vmlDrawing241.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vmlDrawing" Target="../drawings/vmlDrawing242.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6.xml"/><Relationship Id="rId1" Type="http://schemas.openxmlformats.org/officeDocument/2006/relationships/vmlDrawing" Target="../drawings/vmlDrawing243.vml"/><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316.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27.png"/><Relationship Id="rId2" Type="http://schemas.openxmlformats.org/officeDocument/2006/relationships/tags" Target="../tags/tag387.xml"/><Relationship Id="rId1" Type="http://schemas.openxmlformats.org/officeDocument/2006/relationships/vmlDrawing" Target="../drawings/vmlDrawing244.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3" Type="http://schemas.openxmlformats.org/officeDocument/2006/relationships/tags" Target="../tags/tag390.xml"/><Relationship Id="rId7" Type="http://schemas.openxmlformats.org/officeDocument/2006/relationships/image" Target="../media/image27.png"/><Relationship Id="rId2" Type="http://schemas.openxmlformats.org/officeDocument/2006/relationships/tags" Target="../tags/tag389.xml"/><Relationship Id="rId1" Type="http://schemas.openxmlformats.org/officeDocument/2006/relationships/vmlDrawing" Target="../drawings/vmlDrawing245.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3" Type="http://schemas.openxmlformats.org/officeDocument/2006/relationships/tags" Target="../tags/tag392.xml"/><Relationship Id="rId7" Type="http://schemas.openxmlformats.org/officeDocument/2006/relationships/image" Target="../media/image27.png"/><Relationship Id="rId2" Type="http://schemas.openxmlformats.org/officeDocument/2006/relationships/tags" Target="../tags/tag391.xml"/><Relationship Id="rId1" Type="http://schemas.openxmlformats.org/officeDocument/2006/relationships/vmlDrawing" Target="../drawings/vmlDrawing246.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3" Type="http://schemas.openxmlformats.org/officeDocument/2006/relationships/tags" Target="../tags/tag394.xml"/><Relationship Id="rId7" Type="http://schemas.openxmlformats.org/officeDocument/2006/relationships/image" Target="../media/image27.png"/><Relationship Id="rId2" Type="http://schemas.openxmlformats.org/officeDocument/2006/relationships/tags" Target="../tags/tag393.xml"/><Relationship Id="rId1" Type="http://schemas.openxmlformats.org/officeDocument/2006/relationships/vmlDrawing" Target="../drawings/vmlDrawing247.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3" Type="http://schemas.openxmlformats.org/officeDocument/2006/relationships/tags" Target="../tags/tag396.xml"/><Relationship Id="rId7" Type="http://schemas.openxmlformats.org/officeDocument/2006/relationships/image" Target="../media/image27.png"/><Relationship Id="rId2" Type="http://schemas.openxmlformats.org/officeDocument/2006/relationships/tags" Target="../tags/tag395.xml"/><Relationship Id="rId1" Type="http://schemas.openxmlformats.org/officeDocument/2006/relationships/vmlDrawing" Target="../drawings/vmlDrawing248.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3" Type="http://schemas.openxmlformats.org/officeDocument/2006/relationships/tags" Target="../tags/tag398.xml"/><Relationship Id="rId7" Type="http://schemas.openxmlformats.org/officeDocument/2006/relationships/image" Target="../media/image28.png"/><Relationship Id="rId2" Type="http://schemas.openxmlformats.org/officeDocument/2006/relationships/tags" Target="../tags/tag397.xml"/><Relationship Id="rId1" Type="http://schemas.openxmlformats.org/officeDocument/2006/relationships/vmlDrawing" Target="../drawings/vmlDrawing249.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3" Type="http://schemas.openxmlformats.org/officeDocument/2006/relationships/tags" Target="../tags/tag400.xml"/><Relationship Id="rId7" Type="http://schemas.openxmlformats.org/officeDocument/2006/relationships/image" Target="../media/image29.png"/><Relationship Id="rId2" Type="http://schemas.openxmlformats.org/officeDocument/2006/relationships/tags" Target="../tags/tag399.xml"/><Relationship Id="rId1" Type="http://schemas.openxmlformats.org/officeDocument/2006/relationships/vmlDrawing" Target="../drawings/vmlDrawing250.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3" Type="http://schemas.openxmlformats.org/officeDocument/2006/relationships/tags" Target="../tags/tag402.xml"/><Relationship Id="rId7" Type="http://schemas.openxmlformats.org/officeDocument/2006/relationships/image" Target="../media/image31.png"/><Relationship Id="rId2" Type="http://schemas.openxmlformats.org/officeDocument/2006/relationships/tags" Target="../tags/tag401.xml"/><Relationship Id="rId1" Type="http://schemas.openxmlformats.org/officeDocument/2006/relationships/vmlDrawing" Target="../drawings/vmlDrawing251.vml"/><Relationship Id="rId6" Type="http://schemas.openxmlformats.org/officeDocument/2006/relationships/image" Target="../media/image30.emf"/><Relationship Id="rId5" Type="http://schemas.openxmlformats.org/officeDocument/2006/relationships/oleObject" Target="../embeddings/oleObject23.bin"/><Relationship Id="rId4"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29.png"/><Relationship Id="rId2" Type="http://schemas.openxmlformats.org/officeDocument/2006/relationships/tags" Target="../tags/tag403.xml"/><Relationship Id="rId1" Type="http://schemas.openxmlformats.org/officeDocument/2006/relationships/vmlDrawing" Target="../drawings/vmlDrawing252.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tags" Target="../tags/tag406.xml"/><Relationship Id="rId7" Type="http://schemas.openxmlformats.org/officeDocument/2006/relationships/image" Target="../media/image28.png"/><Relationship Id="rId2" Type="http://schemas.openxmlformats.org/officeDocument/2006/relationships/tags" Target="../tags/tag405.xml"/><Relationship Id="rId1" Type="http://schemas.openxmlformats.org/officeDocument/2006/relationships/vmlDrawing" Target="../drawings/vmlDrawing253.vml"/><Relationship Id="rId6" Type="http://schemas.openxmlformats.org/officeDocument/2006/relationships/image" Target="../media/image24.emf"/><Relationship Id="rId5" Type="http://schemas.openxmlformats.org/officeDocument/2006/relationships/oleObject" Target="../embeddings/oleObject25.bin"/><Relationship Id="rId4" Type="http://schemas.openxmlformats.org/officeDocument/2006/relationships/slideMaster" Target="../slideMasters/slideMaster9.xml"/></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408.xml"/><Relationship Id="rId7" Type="http://schemas.openxmlformats.org/officeDocument/2006/relationships/image" Target="../media/image29.png"/><Relationship Id="rId2" Type="http://schemas.openxmlformats.org/officeDocument/2006/relationships/tags" Target="../tags/tag407.xml"/><Relationship Id="rId1" Type="http://schemas.openxmlformats.org/officeDocument/2006/relationships/vmlDrawing" Target="../drawings/vmlDrawing254.vml"/><Relationship Id="rId6" Type="http://schemas.openxmlformats.org/officeDocument/2006/relationships/image" Target="../media/image24.emf"/><Relationship Id="rId5" Type="http://schemas.openxmlformats.org/officeDocument/2006/relationships/oleObject" Target="../embeddings/oleObject26.bin"/><Relationship Id="rId4" Type="http://schemas.openxmlformats.org/officeDocument/2006/relationships/slideMaster" Target="../slideMasters/slideMaster9.xml"/></Relationships>
</file>

<file path=ppt/slideLayouts/_rels/slideLayout327.xml.rels><?xml version="1.0" encoding="UTF-8" standalone="yes"?>
<Relationships xmlns="http://schemas.openxmlformats.org/package/2006/relationships"><Relationship Id="rId3" Type="http://schemas.openxmlformats.org/officeDocument/2006/relationships/tags" Target="../tags/tag410.xml"/><Relationship Id="rId7" Type="http://schemas.openxmlformats.org/officeDocument/2006/relationships/image" Target="../media/image28.png"/><Relationship Id="rId2" Type="http://schemas.openxmlformats.org/officeDocument/2006/relationships/tags" Target="../tags/tag409.xml"/><Relationship Id="rId1" Type="http://schemas.openxmlformats.org/officeDocument/2006/relationships/vmlDrawing" Target="../drawings/vmlDrawing255.vml"/><Relationship Id="rId6" Type="http://schemas.openxmlformats.org/officeDocument/2006/relationships/image" Target="../media/image24.emf"/><Relationship Id="rId5" Type="http://schemas.openxmlformats.org/officeDocument/2006/relationships/oleObject" Target="../embeddings/oleObject27.bin"/><Relationship Id="rId4" Type="http://schemas.openxmlformats.org/officeDocument/2006/relationships/slideMaster" Target="../slideMasters/slideMaster9.xml"/></Relationships>
</file>

<file path=ppt/slideLayouts/_rels/slideLayout328.xml.rels><?xml version="1.0" encoding="UTF-8" standalone="yes"?>
<Relationships xmlns="http://schemas.openxmlformats.org/package/2006/relationships"><Relationship Id="rId3" Type="http://schemas.openxmlformats.org/officeDocument/2006/relationships/tags" Target="../tags/tag412.xml"/><Relationship Id="rId7" Type="http://schemas.openxmlformats.org/officeDocument/2006/relationships/image" Target="../media/image29.png"/><Relationship Id="rId2" Type="http://schemas.openxmlformats.org/officeDocument/2006/relationships/tags" Target="../tags/tag411.xml"/><Relationship Id="rId1" Type="http://schemas.openxmlformats.org/officeDocument/2006/relationships/vmlDrawing" Target="../drawings/vmlDrawing256.vml"/><Relationship Id="rId6" Type="http://schemas.openxmlformats.org/officeDocument/2006/relationships/image" Target="../media/image24.emf"/><Relationship Id="rId5" Type="http://schemas.openxmlformats.org/officeDocument/2006/relationships/oleObject" Target="../embeddings/oleObject28.bin"/><Relationship Id="rId4" Type="http://schemas.openxmlformats.org/officeDocument/2006/relationships/slideMaster" Target="../slideMasters/slideMaster9.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3.xml"/><Relationship Id="rId1" Type="http://schemas.openxmlformats.org/officeDocument/2006/relationships/vmlDrawing" Target="../drawings/vmlDrawing257.vml"/><Relationship Id="rId5" Type="http://schemas.openxmlformats.org/officeDocument/2006/relationships/image" Target="../media/image24.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4.xml"/><Relationship Id="rId1" Type="http://schemas.openxmlformats.org/officeDocument/2006/relationships/vmlDrawing" Target="../drawings/vmlDrawing258.vml"/><Relationship Id="rId5" Type="http://schemas.openxmlformats.org/officeDocument/2006/relationships/image" Target="../media/image24.emf"/><Relationship Id="rId4" Type="http://schemas.openxmlformats.org/officeDocument/2006/relationships/oleObject" Target="../embeddings/oleObject30.bin"/></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5.xml"/><Relationship Id="rId1" Type="http://schemas.openxmlformats.org/officeDocument/2006/relationships/vmlDrawing" Target="../drawings/vmlDrawing259.vml"/><Relationship Id="rId6" Type="http://schemas.openxmlformats.org/officeDocument/2006/relationships/image" Target="../media/image32.png"/><Relationship Id="rId5" Type="http://schemas.openxmlformats.org/officeDocument/2006/relationships/image" Target="../media/image30.emf"/><Relationship Id="rId4" Type="http://schemas.openxmlformats.org/officeDocument/2006/relationships/oleObject" Target="../embeddings/oleObject31.bin"/></Relationships>
</file>

<file path=ppt/slideLayouts/_rels/slideLayout332.xml.rels><?xml version="1.0" encoding="UTF-8" standalone="yes"?>
<Relationships xmlns="http://schemas.openxmlformats.org/package/2006/relationships"><Relationship Id="rId3" Type="http://schemas.openxmlformats.org/officeDocument/2006/relationships/tags" Target="../tags/tag417.xml"/><Relationship Id="rId2" Type="http://schemas.openxmlformats.org/officeDocument/2006/relationships/tags" Target="../tags/tag416.xml"/><Relationship Id="rId1" Type="http://schemas.openxmlformats.org/officeDocument/2006/relationships/vmlDrawing" Target="../drawings/vmlDrawing260.vml"/><Relationship Id="rId6" Type="http://schemas.openxmlformats.org/officeDocument/2006/relationships/image" Target="../media/image24.emf"/><Relationship Id="rId5" Type="http://schemas.openxmlformats.org/officeDocument/2006/relationships/oleObject" Target="../embeddings/oleObject32.bin"/><Relationship Id="rId4" Type="http://schemas.openxmlformats.org/officeDocument/2006/relationships/slideMaster" Target="../slideMasters/slideMaster9.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8.xml"/><Relationship Id="rId1" Type="http://schemas.openxmlformats.org/officeDocument/2006/relationships/vmlDrawing" Target="../drawings/vmlDrawing261.vml"/><Relationship Id="rId5" Type="http://schemas.openxmlformats.org/officeDocument/2006/relationships/image" Target="../media/image24.emf"/><Relationship Id="rId4" Type="http://schemas.openxmlformats.org/officeDocument/2006/relationships/oleObject" Target="../embeddings/oleObject33.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9.xml"/><Relationship Id="rId1" Type="http://schemas.openxmlformats.org/officeDocument/2006/relationships/vmlDrawing" Target="../drawings/vmlDrawing262.vml"/><Relationship Id="rId5" Type="http://schemas.openxmlformats.org/officeDocument/2006/relationships/image" Target="../media/image24.emf"/><Relationship Id="rId4" Type="http://schemas.openxmlformats.org/officeDocument/2006/relationships/oleObject" Target="../embeddings/oleObject34.bin"/></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0.xml"/><Relationship Id="rId1" Type="http://schemas.openxmlformats.org/officeDocument/2006/relationships/vmlDrawing" Target="../drawings/vmlDrawing263.vml"/><Relationship Id="rId5" Type="http://schemas.openxmlformats.org/officeDocument/2006/relationships/image" Target="../media/image24.emf"/><Relationship Id="rId4" Type="http://schemas.openxmlformats.org/officeDocument/2006/relationships/oleObject" Target="../embeddings/oleObject35.bin"/></Relationships>
</file>

<file path=ppt/slideLayouts/_rels/slideLayout3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1.xml"/><Relationship Id="rId1" Type="http://schemas.openxmlformats.org/officeDocument/2006/relationships/vmlDrawing" Target="../drawings/vmlDrawing26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6.bin"/></Relationships>
</file>

<file path=ppt/slideLayouts/_rels/slideLayout3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2.xml"/><Relationship Id="rId1" Type="http://schemas.openxmlformats.org/officeDocument/2006/relationships/vmlDrawing" Target="../drawings/vmlDrawing265.vml"/><Relationship Id="rId5" Type="http://schemas.openxmlformats.org/officeDocument/2006/relationships/image" Target="../media/image24.emf"/><Relationship Id="rId4" Type="http://schemas.openxmlformats.org/officeDocument/2006/relationships/oleObject" Target="../embeddings/oleObject37.bin"/></Relationships>
</file>

<file path=ppt/slideLayouts/_rels/slideLayout3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3.xml"/><Relationship Id="rId1" Type="http://schemas.openxmlformats.org/officeDocument/2006/relationships/vmlDrawing" Target="../drawings/vmlDrawing266.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38.bin"/></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425.xml"/><Relationship Id="rId2" Type="http://schemas.openxmlformats.org/officeDocument/2006/relationships/tags" Target="../tags/tag424.xml"/><Relationship Id="rId1" Type="http://schemas.openxmlformats.org/officeDocument/2006/relationships/vmlDrawing" Target="../drawings/vmlDrawing267.vml"/><Relationship Id="rId6" Type="http://schemas.openxmlformats.org/officeDocument/2006/relationships/image" Target="../media/image24.emf"/><Relationship Id="rId5" Type="http://schemas.openxmlformats.org/officeDocument/2006/relationships/oleObject" Target="../embeddings/oleObject39.bin"/><Relationship Id="rId4"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6.xml"/><Relationship Id="rId1" Type="http://schemas.openxmlformats.org/officeDocument/2006/relationships/vmlDrawing" Target="../drawings/vmlDrawing268.vml"/><Relationship Id="rId5" Type="http://schemas.openxmlformats.org/officeDocument/2006/relationships/image" Target="../media/image24.emf"/><Relationship Id="rId4" Type="http://schemas.openxmlformats.org/officeDocument/2006/relationships/oleObject" Target="../embeddings/oleObject40.bin"/></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428.xml"/><Relationship Id="rId2" Type="http://schemas.openxmlformats.org/officeDocument/2006/relationships/tags" Target="../tags/tag427.xml"/><Relationship Id="rId1" Type="http://schemas.openxmlformats.org/officeDocument/2006/relationships/vmlDrawing" Target="../drawings/vmlDrawing269.vml"/><Relationship Id="rId6" Type="http://schemas.openxmlformats.org/officeDocument/2006/relationships/image" Target="../media/image24.emf"/><Relationship Id="rId5" Type="http://schemas.openxmlformats.org/officeDocument/2006/relationships/oleObject" Target="../embeddings/oleObject41.bin"/><Relationship Id="rId4"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9.xml"/><Relationship Id="rId1" Type="http://schemas.openxmlformats.org/officeDocument/2006/relationships/vmlDrawing" Target="../drawings/vmlDrawing270.vml"/><Relationship Id="rId5" Type="http://schemas.openxmlformats.org/officeDocument/2006/relationships/image" Target="../media/image24.emf"/><Relationship Id="rId4" Type="http://schemas.openxmlformats.org/officeDocument/2006/relationships/oleObject" Target="../embeddings/oleObject42.bin"/></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0.xml"/><Relationship Id="rId1" Type="http://schemas.openxmlformats.org/officeDocument/2006/relationships/vmlDrawing" Target="../drawings/vmlDrawing271.vml"/><Relationship Id="rId5" Type="http://schemas.openxmlformats.org/officeDocument/2006/relationships/image" Target="../media/image24.emf"/><Relationship Id="rId4" Type="http://schemas.openxmlformats.org/officeDocument/2006/relationships/oleObject" Target="../embeddings/oleObject43.bin"/></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432.xml"/><Relationship Id="rId7" Type="http://schemas.openxmlformats.org/officeDocument/2006/relationships/image" Target="../media/image27.png"/><Relationship Id="rId2" Type="http://schemas.openxmlformats.org/officeDocument/2006/relationships/tags" Target="../tags/tag431.xml"/><Relationship Id="rId1" Type="http://schemas.openxmlformats.org/officeDocument/2006/relationships/vmlDrawing" Target="../drawings/vmlDrawing272.vml"/><Relationship Id="rId6" Type="http://schemas.openxmlformats.org/officeDocument/2006/relationships/image" Target="../media/image24.emf"/><Relationship Id="rId5" Type="http://schemas.openxmlformats.org/officeDocument/2006/relationships/oleObject" Target="../embeddings/oleObject44.bin"/><Relationship Id="rId4"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3" Type="http://schemas.openxmlformats.org/officeDocument/2006/relationships/tags" Target="../tags/tag434.xml"/><Relationship Id="rId7" Type="http://schemas.openxmlformats.org/officeDocument/2006/relationships/image" Target="../media/image27.png"/><Relationship Id="rId2" Type="http://schemas.openxmlformats.org/officeDocument/2006/relationships/tags" Target="../tags/tag433.xml"/><Relationship Id="rId1" Type="http://schemas.openxmlformats.org/officeDocument/2006/relationships/vmlDrawing" Target="../drawings/vmlDrawing273.vml"/><Relationship Id="rId6" Type="http://schemas.openxmlformats.org/officeDocument/2006/relationships/image" Target="../media/image24.emf"/><Relationship Id="rId5" Type="http://schemas.openxmlformats.org/officeDocument/2006/relationships/oleObject" Target="../embeddings/oleObject45.bin"/><Relationship Id="rId4"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3" Type="http://schemas.openxmlformats.org/officeDocument/2006/relationships/tags" Target="../tags/tag436.xml"/><Relationship Id="rId7" Type="http://schemas.openxmlformats.org/officeDocument/2006/relationships/image" Target="../media/image27.png"/><Relationship Id="rId2" Type="http://schemas.openxmlformats.org/officeDocument/2006/relationships/tags" Target="../tags/tag435.xml"/><Relationship Id="rId1" Type="http://schemas.openxmlformats.org/officeDocument/2006/relationships/vmlDrawing" Target="../drawings/vmlDrawing274.vml"/><Relationship Id="rId6" Type="http://schemas.openxmlformats.org/officeDocument/2006/relationships/image" Target="../media/image24.emf"/><Relationship Id="rId5" Type="http://schemas.openxmlformats.org/officeDocument/2006/relationships/oleObject" Target="../embeddings/oleObject46.bin"/><Relationship Id="rId4"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3" Type="http://schemas.openxmlformats.org/officeDocument/2006/relationships/tags" Target="../tags/tag438.xml"/><Relationship Id="rId7" Type="http://schemas.openxmlformats.org/officeDocument/2006/relationships/image" Target="../media/image27.png"/><Relationship Id="rId2" Type="http://schemas.openxmlformats.org/officeDocument/2006/relationships/tags" Target="../tags/tag437.xml"/><Relationship Id="rId1" Type="http://schemas.openxmlformats.org/officeDocument/2006/relationships/vmlDrawing" Target="../drawings/vmlDrawing275.vml"/><Relationship Id="rId6" Type="http://schemas.openxmlformats.org/officeDocument/2006/relationships/image" Target="../media/image24.emf"/><Relationship Id="rId5" Type="http://schemas.openxmlformats.org/officeDocument/2006/relationships/oleObject" Target="../embeddings/oleObject47.bin"/><Relationship Id="rId4"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27.png"/><Relationship Id="rId2" Type="http://schemas.openxmlformats.org/officeDocument/2006/relationships/tags" Target="../tags/tag439.xml"/><Relationship Id="rId1" Type="http://schemas.openxmlformats.org/officeDocument/2006/relationships/vmlDrawing" Target="../drawings/vmlDrawing276.vml"/><Relationship Id="rId6" Type="http://schemas.openxmlformats.org/officeDocument/2006/relationships/image" Target="../media/image24.emf"/><Relationship Id="rId5" Type="http://schemas.openxmlformats.org/officeDocument/2006/relationships/oleObject" Target="../embeddings/oleObject48.bin"/><Relationship Id="rId4"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3" Type="http://schemas.openxmlformats.org/officeDocument/2006/relationships/tags" Target="../tags/tag442.xml"/><Relationship Id="rId7" Type="http://schemas.openxmlformats.org/officeDocument/2006/relationships/image" Target="../media/image27.png"/><Relationship Id="rId2" Type="http://schemas.openxmlformats.org/officeDocument/2006/relationships/tags" Target="../tags/tag441.xml"/><Relationship Id="rId1" Type="http://schemas.openxmlformats.org/officeDocument/2006/relationships/vmlDrawing" Target="../drawings/vmlDrawing277.vml"/><Relationship Id="rId6" Type="http://schemas.openxmlformats.org/officeDocument/2006/relationships/image" Target="../media/image24.emf"/><Relationship Id="rId5" Type="http://schemas.openxmlformats.org/officeDocument/2006/relationships/oleObject" Target="../embeddings/oleObject49.bin"/><Relationship Id="rId4"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3" Type="http://schemas.openxmlformats.org/officeDocument/2006/relationships/tags" Target="../tags/tag444.xml"/><Relationship Id="rId7" Type="http://schemas.openxmlformats.org/officeDocument/2006/relationships/image" Target="../media/image28.png"/><Relationship Id="rId2" Type="http://schemas.openxmlformats.org/officeDocument/2006/relationships/tags" Target="../tags/tag443.xml"/><Relationship Id="rId1" Type="http://schemas.openxmlformats.org/officeDocument/2006/relationships/vmlDrawing" Target="../drawings/vmlDrawing278.vml"/><Relationship Id="rId6" Type="http://schemas.openxmlformats.org/officeDocument/2006/relationships/image" Target="../media/image30.emf"/><Relationship Id="rId5" Type="http://schemas.openxmlformats.org/officeDocument/2006/relationships/oleObject" Target="../embeddings/oleObject50.bin"/><Relationship Id="rId4"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3" Type="http://schemas.openxmlformats.org/officeDocument/2006/relationships/tags" Target="../tags/tag446.xml"/><Relationship Id="rId7" Type="http://schemas.openxmlformats.org/officeDocument/2006/relationships/image" Target="../media/image29.png"/><Relationship Id="rId2" Type="http://schemas.openxmlformats.org/officeDocument/2006/relationships/tags" Target="../tags/tag445.xml"/><Relationship Id="rId1" Type="http://schemas.openxmlformats.org/officeDocument/2006/relationships/vmlDrawing" Target="../drawings/vmlDrawing279.vml"/><Relationship Id="rId6" Type="http://schemas.openxmlformats.org/officeDocument/2006/relationships/image" Target="../media/image24.emf"/><Relationship Id="rId5" Type="http://schemas.openxmlformats.org/officeDocument/2006/relationships/oleObject" Target="../embeddings/oleObject51.bin"/><Relationship Id="rId4"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3" Type="http://schemas.openxmlformats.org/officeDocument/2006/relationships/tags" Target="../tags/tag448.xml"/><Relationship Id="rId7" Type="http://schemas.openxmlformats.org/officeDocument/2006/relationships/image" Target="../media/image31.png"/><Relationship Id="rId2" Type="http://schemas.openxmlformats.org/officeDocument/2006/relationships/tags" Target="../tags/tag447.xml"/><Relationship Id="rId1" Type="http://schemas.openxmlformats.org/officeDocument/2006/relationships/vmlDrawing" Target="../drawings/vmlDrawing280.vml"/><Relationship Id="rId6" Type="http://schemas.openxmlformats.org/officeDocument/2006/relationships/image" Target="../media/image24.emf"/><Relationship Id="rId5" Type="http://schemas.openxmlformats.org/officeDocument/2006/relationships/oleObject" Target="../embeddings/oleObject52.bin"/><Relationship Id="rId4"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3" Type="http://schemas.openxmlformats.org/officeDocument/2006/relationships/tags" Target="../tags/tag450.xml"/><Relationship Id="rId7" Type="http://schemas.openxmlformats.org/officeDocument/2006/relationships/image" Target="../media/image29.png"/><Relationship Id="rId2" Type="http://schemas.openxmlformats.org/officeDocument/2006/relationships/tags" Target="../tags/tag449.xml"/><Relationship Id="rId1" Type="http://schemas.openxmlformats.org/officeDocument/2006/relationships/vmlDrawing" Target="../drawings/vmlDrawing281.vml"/><Relationship Id="rId6" Type="http://schemas.openxmlformats.org/officeDocument/2006/relationships/image" Target="../media/image24.emf"/><Relationship Id="rId5" Type="http://schemas.openxmlformats.org/officeDocument/2006/relationships/oleObject" Target="../embeddings/oleObject53.bin"/><Relationship Id="rId4"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3" Type="http://schemas.openxmlformats.org/officeDocument/2006/relationships/tags" Target="../tags/tag452.xml"/><Relationship Id="rId7" Type="http://schemas.openxmlformats.org/officeDocument/2006/relationships/image" Target="../media/image28.png"/><Relationship Id="rId2" Type="http://schemas.openxmlformats.org/officeDocument/2006/relationships/tags" Target="../tags/tag451.xml"/><Relationship Id="rId1" Type="http://schemas.openxmlformats.org/officeDocument/2006/relationships/vmlDrawing" Target="../drawings/vmlDrawing282.vml"/><Relationship Id="rId6" Type="http://schemas.openxmlformats.org/officeDocument/2006/relationships/image" Target="../media/image24.emf"/><Relationship Id="rId5" Type="http://schemas.openxmlformats.org/officeDocument/2006/relationships/oleObject" Target="../embeddings/oleObject54.bin"/><Relationship Id="rId4"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3" Type="http://schemas.openxmlformats.org/officeDocument/2006/relationships/tags" Target="../tags/tag454.xml"/><Relationship Id="rId7" Type="http://schemas.openxmlformats.org/officeDocument/2006/relationships/image" Target="../media/image29.png"/><Relationship Id="rId2" Type="http://schemas.openxmlformats.org/officeDocument/2006/relationships/tags" Target="../tags/tag453.xml"/><Relationship Id="rId1" Type="http://schemas.openxmlformats.org/officeDocument/2006/relationships/vmlDrawing" Target="../drawings/vmlDrawing283.vml"/><Relationship Id="rId6" Type="http://schemas.openxmlformats.org/officeDocument/2006/relationships/image" Target="../media/image24.emf"/><Relationship Id="rId5" Type="http://schemas.openxmlformats.org/officeDocument/2006/relationships/oleObject" Target="../embeddings/oleObject55.bin"/><Relationship Id="rId4"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3" Type="http://schemas.openxmlformats.org/officeDocument/2006/relationships/tags" Target="../tags/tag456.xml"/><Relationship Id="rId7" Type="http://schemas.openxmlformats.org/officeDocument/2006/relationships/image" Target="../media/image28.png"/><Relationship Id="rId2" Type="http://schemas.openxmlformats.org/officeDocument/2006/relationships/tags" Target="../tags/tag455.xml"/><Relationship Id="rId1" Type="http://schemas.openxmlformats.org/officeDocument/2006/relationships/vmlDrawing" Target="../drawings/vmlDrawing284.vml"/><Relationship Id="rId6" Type="http://schemas.openxmlformats.org/officeDocument/2006/relationships/image" Target="../media/image24.emf"/><Relationship Id="rId5" Type="http://schemas.openxmlformats.org/officeDocument/2006/relationships/oleObject" Target="../embeddings/oleObject56.bin"/><Relationship Id="rId4"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29.png"/><Relationship Id="rId2" Type="http://schemas.openxmlformats.org/officeDocument/2006/relationships/tags" Target="../tags/tag457.xml"/><Relationship Id="rId1" Type="http://schemas.openxmlformats.org/officeDocument/2006/relationships/vmlDrawing" Target="../drawings/vmlDrawing285.vml"/><Relationship Id="rId6" Type="http://schemas.openxmlformats.org/officeDocument/2006/relationships/image" Target="../media/image24.emf"/><Relationship Id="rId5" Type="http://schemas.openxmlformats.org/officeDocument/2006/relationships/oleObject" Target="../embeddings/oleObject57.bin"/><Relationship Id="rId4"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9.xml"/><Relationship Id="rId1" Type="http://schemas.openxmlformats.org/officeDocument/2006/relationships/vmlDrawing" Target="../drawings/vmlDrawing286.vml"/><Relationship Id="rId5" Type="http://schemas.openxmlformats.org/officeDocument/2006/relationships/image" Target="../media/image24.emf"/><Relationship Id="rId4" Type="http://schemas.openxmlformats.org/officeDocument/2006/relationships/oleObject" Target="../embeddings/oleObject58.bin"/></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0.xml"/><Relationship Id="rId1" Type="http://schemas.openxmlformats.org/officeDocument/2006/relationships/vmlDrawing" Target="../drawings/vmlDrawing287.vml"/><Relationship Id="rId5" Type="http://schemas.openxmlformats.org/officeDocument/2006/relationships/image" Target="../media/image24.emf"/><Relationship Id="rId4" Type="http://schemas.openxmlformats.org/officeDocument/2006/relationships/oleObject" Target="../embeddings/oleObject59.bin"/></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1.xml"/><Relationship Id="rId1" Type="http://schemas.openxmlformats.org/officeDocument/2006/relationships/vmlDrawing" Target="../drawings/vmlDrawing288.vml"/><Relationship Id="rId6" Type="http://schemas.openxmlformats.org/officeDocument/2006/relationships/image" Target="../media/image32.png"/><Relationship Id="rId5" Type="http://schemas.openxmlformats.org/officeDocument/2006/relationships/image" Target="../media/image22.emf"/><Relationship Id="rId4" Type="http://schemas.openxmlformats.org/officeDocument/2006/relationships/oleObject" Target="../embeddings/oleObject60.bin"/></Relationships>
</file>

<file path=ppt/slideLayouts/_rels/slideLayout361.xml.rels><?xml version="1.0" encoding="UTF-8" standalone="yes"?>
<Relationships xmlns="http://schemas.openxmlformats.org/package/2006/relationships"><Relationship Id="rId3" Type="http://schemas.openxmlformats.org/officeDocument/2006/relationships/tags" Target="../tags/tag463.xml"/><Relationship Id="rId2" Type="http://schemas.openxmlformats.org/officeDocument/2006/relationships/tags" Target="../tags/tag462.xml"/><Relationship Id="rId1" Type="http://schemas.openxmlformats.org/officeDocument/2006/relationships/vmlDrawing" Target="../drawings/vmlDrawing289.vml"/><Relationship Id="rId6" Type="http://schemas.openxmlformats.org/officeDocument/2006/relationships/image" Target="../media/image24.emf"/><Relationship Id="rId5" Type="http://schemas.openxmlformats.org/officeDocument/2006/relationships/oleObject" Target="../embeddings/oleObject61.bin"/><Relationship Id="rId4"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4.xml"/><Relationship Id="rId1" Type="http://schemas.openxmlformats.org/officeDocument/2006/relationships/vmlDrawing" Target="../drawings/vmlDrawing290.v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62.bin"/></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5.xml"/><Relationship Id="rId1" Type="http://schemas.openxmlformats.org/officeDocument/2006/relationships/vmlDrawing" Target="../drawings/vmlDrawing291.vml"/><Relationship Id="rId5" Type="http://schemas.openxmlformats.org/officeDocument/2006/relationships/image" Target="../media/image24.emf"/><Relationship Id="rId4" Type="http://schemas.openxmlformats.org/officeDocument/2006/relationships/oleObject" Target="../embeddings/oleObject63.bin"/></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6.xml"/><Relationship Id="rId1" Type="http://schemas.openxmlformats.org/officeDocument/2006/relationships/vmlDrawing" Target="../drawings/vmlDrawing292.vml"/><Relationship Id="rId5" Type="http://schemas.openxmlformats.org/officeDocument/2006/relationships/image" Target="../media/image24.emf"/><Relationship Id="rId4" Type="http://schemas.openxmlformats.org/officeDocument/2006/relationships/oleObject" Target="../embeddings/oleObject64.bin"/></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7.xml"/><Relationship Id="rId1" Type="http://schemas.openxmlformats.org/officeDocument/2006/relationships/vmlDrawing" Target="../drawings/vmlDrawing293.vml"/><Relationship Id="rId5" Type="http://schemas.openxmlformats.org/officeDocument/2006/relationships/image" Target="../media/image24.emf"/><Relationship Id="rId4" Type="http://schemas.openxmlformats.org/officeDocument/2006/relationships/oleObject" Target="../embeddings/oleObject65.bin"/></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8.xml"/><Relationship Id="rId1" Type="http://schemas.openxmlformats.org/officeDocument/2006/relationships/vmlDrawing" Target="../drawings/vmlDrawing294.v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66.bin"/></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69.xml"/><Relationship Id="rId1" Type="http://schemas.openxmlformats.org/officeDocument/2006/relationships/vmlDrawing" Target="../drawings/vmlDrawing295.vml"/><Relationship Id="rId5" Type="http://schemas.openxmlformats.org/officeDocument/2006/relationships/image" Target="../media/image24.emf"/><Relationship Id="rId4" Type="http://schemas.openxmlformats.org/officeDocument/2006/relationships/oleObject" Target="../embeddings/oleObject67.bin"/></Relationships>
</file>

<file path=ppt/slideLayouts/_rels/slideLayout368.xml.rels><?xml version="1.0" encoding="UTF-8" standalone="yes"?>
<Relationships xmlns="http://schemas.openxmlformats.org/package/2006/relationships"><Relationship Id="rId3" Type="http://schemas.openxmlformats.org/officeDocument/2006/relationships/tags" Target="../tags/tag471.xml"/><Relationship Id="rId2" Type="http://schemas.openxmlformats.org/officeDocument/2006/relationships/tags" Target="../tags/tag470.xml"/><Relationship Id="rId1" Type="http://schemas.openxmlformats.org/officeDocument/2006/relationships/vmlDrawing" Target="../drawings/vmlDrawing296.vml"/><Relationship Id="rId6" Type="http://schemas.openxmlformats.org/officeDocument/2006/relationships/image" Target="../media/image21.emf"/><Relationship Id="rId5" Type="http://schemas.openxmlformats.org/officeDocument/2006/relationships/oleObject" Target="../embeddings/oleObject68.bin"/><Relationship Id="rId4"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2.xml"/><Relationship Id="rId1" Type="http://schemas.openxmlformats.org/officeDocument/2006/relationships/vmlDrawing" Target="../drawings/vmlDrawing297.vml"/><Relationship Id="rId5" Type="http://schemas.openxmlformats.org/officeDocument/2006/relationships/image" Target="../media/image21.emf"/><Relationship Id="rId4" Type="http://schemas.openxmlformats.org/officeDocument/2006/relationships/oleObject" Target="../embeddings/oleObject69.bin"/></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3.xml"/><Relationship Id="rId1" Type="http://schemas.openxmlformats.org/officeDocument/2006/relationships/vmlDrawing" Target="../drawings/vmlDrawing298.vml"/><Relationship Id="rId5" Type="http://schemas.openxmlformats.org/officeDocument/2006/relationships/image" Target="../media/image21.emf"/><Relationship Id="rId4" Type="http://schemas.openxmlformats.org/officeDocument/2006/relationships/oleObject" Target="../embeddings/oleObject70.bin"/></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4.xml"/><Relationship Id="rId1" Type="http://schemas.openxmlformats.org/officeDocument/2006/relationships/vmlDrawing" Target="../drawings/vmlDrawing299.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1.bin"/></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476.xml"/><Relationship Id="rId2" Type="http://schemas.openxmlformats.org/officeDocument/2006/relationships/tags" Target="../tags/tag475.xml"/><Relationship Id="rId1" Type="http://schemas.openxmlformats.org/officeDocument/2006/relationships/vmlDrawing" Target="../drawings/vmlDrawing300.vml"/><Relationship Id="rId6" Type="http://schemas.openxmlformats.org/officeDocument/2006/relationships/image" Target="../media/image21.emf"/><Relationship Id="rId5" Type="http://schemas.openxmlformats.org/officeDocument/2006/relationships/oleObject" Target="../embeddings/oleObject72.bin"/><Relationship Id="rId4"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7.xml"/><Relationship Id="rId1" Type="http://schemas.openxmlformats.org/officeDocument/2006/relationships/vmlDrawing" Target="../drawings/vmlDrawing301.vml"/><Relationship Id="rId5" Type="http://schemas.openxmlformats.org/officeDocument/2006/relationships/image" Target="../media/image21.emf"/><Relationship Id="rId4" Type="http://schemas.openxmlformats.org/officeDocument/2006/relationships/oleObject" Target="../embeddings/oleObject73.bin"/></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8.xml"/><Relationship Id="rId1" Type="http://schemas.openxmlformats.org/officeDocument/2006/relationships/vmlDrawing" Target="../drawings/vmlDrawing302.vml"/><Relationship Id="rId5" Type="http://schemas.openxmlformats.org/officeDocument/2006/relationships/image" Target="../media/image21.emf"/><Relationship Id="rId4" Type="http://schemas.openxmlformats.org/officeDocument/2006/relationships/oleObject" Target="../embeddings/oleObject74.bin"/></Relationships>
</file>

<file path=ppt/slideLayouts/_rels/slideLayout37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79.xml"/><Relationship Id="rId1" Type="http://schemas.openxmlformats.org/officeDocument/2006/relationships/vmlDrawing" Target="../drawings/vmlDrawing303.vml"/><Relationship Id="rId6" Type="http://schemas.openxmlformats.org/officeDocument/2006/relationships/image" Target="../media/image27.png"/><Relationship Id="rId5" Type="http://schemas.openxmlformats.org/officeDocument/2006/relationships/image" Target="../media/image21.emf"/><Relationship Id="rId4" Type="http://schemas.openxmlformats.org/officeDocument/2006/relationships/oleObject" Target="../embeddings/oleObject75.bin"/></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80.xml"/><Relationship Id="rId1" Type="http://schemas.openxmlformats.org/officeDocument/2006/relationships/vmlDrawing" Target="../drawings/vmlDrawing304.vml"/><Relationship Id="rId6" Type="http://schemas.openxmlformats.org/officeDocument/2006/relationships/image" Target="../media/image28.png"/><Relationship Id="rId5" Type="http://schemas.openxmlformats.org/officeDocument/2006/relationships/image" Target="../media/image21.emf"/><Relationship Id="rId4" Type="http://schemas.openxmlformats.org/officeDocument/2006/relationships/oleObject" Target="../embeddings/oleObject76.bin"/></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2.pn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2.emf"/><Relationship Id="rId5" Type="http://schemas.openxmlformats.org/officeDocument/2006/relationships/oleObject" Target="../embeddings/oleObject2.bin"/><Relationship Id="rId4"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4.emf"/><Relationship Id="rId5" Type="http://schemas.openxmlformats.org/officeDocument/2006/relationships/oleObject" Target="../embeddings/oleObject3.bin"/><Relationship Id="rId4"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4.emf"/><Relationship Id="rId5" Type="http://schemas.openxmlformats.org/officeDocument/2006/relationships/oleObject" Target="../embeddings/oleObject4.bin"/><Relationship Id="rId4"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25.png"/><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6.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4.emf"/><Relationship Id="rId5" Type="http://schemas.openxmlformats.org/officeDocument/2006/relationships/oleObject" Target="../embeddings/oleObject6.bin"/><Relationship Id="rId4"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6.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4.emf"/><Relationship Id="rId5" Type="http://schemas.openxmlformats.org/officeDocument/2006/relationships/oleObject" Target="../embeddings/oleObject9.bin"/><Relationship Id="rId4"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4.emf"/><Relationship Id="rId5" Type="http://schemas.openxmlformats.org/officeDocument/2006/relationships/oleObject" Target="../embeddings/oleObject10.bin"/><Relationship Id="rId4"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4.emf"/><Relationship Id="rId5" Type="http://schemas.openxmlformats.org/officeDocument/2006/relationships/oleObject" Target="../embeddings/oleObject11.bin"/><Relationship Id="rId4"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4.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4.emf"/><Relationship Id="rId5" Type="http://schemas.openxmlformats.org/officeDocument/2006/relationships/oleObject" Target="../embeddings/oleObject13.bin"/><Relationship Id="rId4"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xml"/><Relationship Id="rId1" Type="http://schemas.openxmlformats.org/officeDocument/2006/relationships/vmlDrawing" Target="../drawings/vmlDrawing14.v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xml"/><Relationship Id="rId1" Type="http://schemas.openxmlformats.org/officeDocument/2006/relationships/vmlDrawing" Target="../drawings/vmlDrawing15.vml"/><Relationship Id="rId5" Type="http://schemas.openxmlformats.org/officeDocument/2006/relationships/image" Target="../media/image24.emf"/><Relationship Id="rId4" Type="http://schemas.openxmlformats.org/officeDocument/2006/relationships/oleObject" Target="../embeddings/oleObject15.bin"/></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7.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24.emf"/><Relationship Id="rId5" Type="http://schemas.openxmlformats.org/officeDocument/2006/relationships/oleObject" Target="../embeddings/oleObject16.bin"/><Relationship Id="rId4"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7.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24.emf"/><Relationship Id="rId5" Type="http://schemas.openxmlformats.org/officeDocument/2006/relationships/oleObject" Target="../embeddings/oleObject17.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27.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18.bin"/><Relationship Id="rId4"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27.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7.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24.emf"/><Relationship Id="rId5" Type="http://schemas.openxmlformats.org/officeDocument/2006/relationships/oleObject" Target="../embeddings/oleObject20.bin"/><Relationship Id="rId4"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28.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24.emf"/><Relationship Id="rId5" Type="http://schemas.openxmlformats.org/officeDocument/2006/relationships/oleObject" Target="../embeddings/oleObject21.bin"/><Relationship Id="rId4"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9.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24.emf"/><Relationship Id="rId5" Type="http://schemas.openxmlformats.org/officeDocument/2006/relationships/oleObject" Target="../embeddings/oleObject22.bin"/><Relationship Id="rId4"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31.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30.emf"/><Relationship Id="rId5" Type="http://schemas.openxmlformats.org/officeDocument/2006/relationships/oleObject" Target="../embeddings/oleObject23.bin"/><Relationship Id="rId4"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9.png"/><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24.emf"/><Relationship Id="rId5" Type="http://schemas.openxmlformats.org/officeDocument/2006/relationships/oleObject" Target="../embeddings/oleObject24.bin"/><Relationship Id="rId4"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803400"/>
            <a:ext cx="12192000"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9428261" y="6454268"/>
            <a:ext cx="939680" cy="235898"/>
          </a:xfrm>
          <a:prstGeom prst="rect">
            <a:avLst/>
          </a:prstGeom>
          <a:noFill/>
        </p:spPr>
        <p:txBody>
          <a:bodyPr wrap="none" rtlCol="0">
            <a:spAutoFit/>
          </a:bodyPr>
          <a:lstStyle/>
          <a:p>
            <a:pPr algn="r"/>
            <a:r>
              <a:rPr lang="en-US" sz="933" i="1" dirty="0">
                <a:solidFill>
                  <a:prstClr val="black"/>
                </a:solidFill>
                <a:latin typeface="Arial"/>
              </a:rPr>
              <a:t>www.ksde.org</a:t>
            </a:r>
          </a:p>
        </p:txBody>
      </p:sp>
      <p:sp>
        <p:nvSpPr>
          <p:cNvPr id="2" name="Title 1"/>
          <p:cNvSpPr>
            <a:spLocks noGrp="1"/>
          </p:cNvSpPr>
          <p:nvPr>
            <p:ph type="ctrTitle"/>
          </p:nvPr>
        </p:nvSpPr>
        <p:spPr>
          <a:xfrm>
            <a:off x="3352801" y="1905000"/>
            <a:ext cx="8635999" cy="2336800"/>
          </a:xfrm>
        </p:spPr>
        <p:txBody>
          <a:bodyPr wrap="square" lIns="457200" anchor="b">
            <a:noAutofit/>
          </a:bodyPr>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454400" y="4343400"/>
            <a:ext cx="8534416" cy="965200"/>
          </a:xfrm>
          <a:prstGeom prst="rect">
            <a:avLst/>
          </a:prstGeom>
        </p:spPr>
        <p:txBody>
          <a:bodyPr anchor="ctr">
            <a:normAutofit/>
          </a:bodyPr>
          <a:lstStyle>
            <a:lvl1pPr marL="0" indent="0" algn="l">
              <a:buNone/>
              <a:defRPr sz="3200">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320040"/>
            <a:ext cx="3836264" cy="621792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145" y="1315720"/>
            <a:ext cx="3173671" cy="48768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5701" y="5702815"/>
            <a:ext cx="1409432" cy="1097280"/>
          </a:xfrm>
          <a:prstGeom prst="rect">
            <a:avLst/>
          </a:prstGeom>
        </p:spPr>
      </p:pic>
    </p:spTree>
    <p:extLst>
      <p:ext uri="{BB962C8B-B14F-4D97-AF65-F5344CB8AC3E}">
        <p14:creationId xmlns:p14="http://schemas.microsoft.com/office/powerpoint/2010/main" val="87244081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Tree>
    <p:extLst>
      <p:ext uri="{BB962C8B-B14F-4D97-AF65-F5344CB8AC3E}">
        <p14:creationId xmlns:p14="http://schemas.microsoft.com/office/powerpoint/2010/main" val="130397051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0318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05940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34557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07256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8055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7056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21160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02943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1027275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212810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1437040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67838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918172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60906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9759339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2" name="TextBox 11"/>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grpSp>
        <p:nvGrpSpPr>
          <p:cNvPr id="15" name="Group 14"/>
          <p:cNvGrpSpPr/>
          <p:nvPr userDrawn="1"/>
        </p:nvGrpSpPr>
        <p:grpSpPr>
          <a:xfrm>
            <a:off x="0" y="6100075"/>
            <a:ext cx="12192000" cy="307778"/>
            <a:chOff x="0" y="4574984"/>
            <a:chExt cx="9144000" cy="230834"/>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7" name="TextBox 16"/>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73172799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21828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580902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59522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746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1714315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437852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240402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07365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226703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17155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34980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71364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9449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9226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63748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3" name="TextBox 12"/>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7" name="Content Placeholder 6"/>
          <p:cNvSpPr>
            <a:spLocks noGrp="1"/>
          </p:cNvSpPr>
          <p:nvPr>
            <p:ph sz="quarter" idx="11"/>
          </p:nvPr>
        </p:nvSpPr>
        <p:spPr>
          <a:xfrm>
            <a:off x="250901" y="279400"/>
            <a:ext cx="11690201" cy="599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283118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682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6079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39058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610791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3685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59009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7590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85902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9013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8169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55535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2155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82126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265154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9668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3124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1492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00123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9773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25199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21" name="Group 20"/>
          <p:cNvGrpSpPr/>
          <p:nvPr userDrawn="1"/>
        </p:nvGrpSpPr>
        <p:grpSpPr>
          <a:xfrm>
            <a:off x="0" y="6100075"/>
            <a:ext cx="12192000" cy="307778"/>
            <a:chOff x="0" y="4574984"/>
            <a:chExt cx="9144000" cy="230834"/>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4" name="TextBox 23"/>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Tree>
    <p:extLst>
      <p:ext uri="{BB962C8B-B14F-4D97-AF65-F5344CB8AC3E}">
        <p14:creationId xmlns:p14="http://schemas.microsoft.com/office/powerpoint/2010/main" val="206501608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23053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991034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92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09066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39840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09692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887854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03676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944568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54373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1"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411900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0341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567785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06178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2" y="888132"/>
            <a:ext cx="3454399" cy="5238032"/>
          </a:xfrm>
          <a:prstGeom prst="rect">
            <a:avLst/>
          </a:prstGeom>
          <a:noFill/>
        </p:spPr>
        <p:txBody>
          <a:bodyPr/>
          <a:lstStyle>
            <a:lvl1pPr marL="380990" indent="-380990">
              <a:buFont typeface="Arial" panose="020B0604020202020204" pitchFamily="34" charset="0"/>
              <a:buChar char="•"/>
              <a:defRPr sz="26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5" name="Title 1"/>
          <p:cNvSpPr>
            <a:spLocks noGrp="1"/>
          </p:cNvSpPr>
          <p:nvPr>
            <p:ph type="title"/>
          </p:nvPr>
        </p:nvSpPr>
        <p:spPr>
          <a:xfrm>
            <a:off x="406400" y="1"/>
            <a:ext cx="11480800" cy="787399"/>
          </a:xfrm>
        </p:spPr>
        <p:txBody>
          <a:bodyPr/>
          <a:lstStyle/>
          <a:p>
            <a:r>
              <a:rPr lang="en-US" dirty="0"/>
              <a:t>Click to edit Master title style</a:t>
            </a:r>
          </a:p>
        </p:txBody>
      </p:sp>
      <p:sp>
        <p:nvSpPr>
          <p:cNvPr id="13" name="Rectangle 12"/>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4" name="TextBox 13"/>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418466362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9805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583248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3250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94719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47319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1659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12079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4244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543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16898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215429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0170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2973699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14454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68079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48375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70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18" name="Group 17"/>
          <p:cNvGrpSpPr/>
          <p:nvPr userDrawn="1"/>
        </p:nvGrpSpPr>
        <p:grpSpPr>
          <a:xfrm>
            <a:off x="0" y="6100075"/>
            <a:ext cx="12192000" cy="307778"/>
            <a:chOff x="0" y="4574984"/>
            <a:chExt cx="9144000" cy="230834"/>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0" name="TextBox 19"/>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286248786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83480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53692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5120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1779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5658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2887997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27688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1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100478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982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774873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3599228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2289401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658975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2501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87593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 name="Title 1"/>
          <p:cNvSpPr>
            <a:spLocks noGrp="1"/>
          </p:cNvSpPr>
          <p:nvPr>
            <p:ph type="title"/>
          </p:nvPr>
        </p:nvSpPr>
        <p:spPr>
          <a:xfrm>
            <a:off x="513279" y="4800600"/>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5"/>
            <a:ext cx="11988800" cy="4549775"/>
          </a:xfrm>
          <a:prstGeom prst="rect">
            <a:avLst/>
          </a:prstGeom>
          <a:noFill/>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3"/>
            <a:ext cx="10363213" cy="804863"/>
          </a:xfrm>
          <a:prstGeom prst="rect">
            <a:avLst/>
          </a:prstGeom>
          <a:noFill/>
        </p:spPr>
        <p:txBody>
          <a:bodyPr/>
          <a:lstStyle>
            <a:lvl1pPr marL="0" indent="0">
              <a:buNone/>
              <a:defRPr sz="1867">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19" name="Rectangle 18"/>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9CFF1A"/>
              </a:solidFill>
              <a:latin typeface="Arial"/>
            </a:endParaRPr>
          </a:p>
        </p:txBody>
      </p:sp>
      <p:sp>
        <p:nvSpPr>
          <p:cNvPr id="20" name="TextBox 19"/>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117478504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420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6522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04281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9492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0333523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8878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95901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7"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432323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1991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37743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7336410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9457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39903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35258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422980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44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266563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59886"/>
            <a:ext cx="11582400" cy="656591"/>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20" name="Rectangle 19"/>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Box 20"/>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22895293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7985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30872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3947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5593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9736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892183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50661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502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2637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158048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01586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268743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6729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3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32505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197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67471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74765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2796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6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2091256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85" indent="0" algn="r">
              <a:buNone/>
              <a:defRPr i="1">
                <a:solidFill>
                  <a:schemeClr val="bg1"/>
                </a:solidFill>
              </a:defRPr>
            </a:lvl2pPr>
            <a:lvl3pPr marL="1219170" indent="0" algn="ctr">
              <a:buNone/>
              <a:defRPr i="1">
                <a:solidFill>
                  <a:schemeClr val="bg1"/>
                </a:solidFill>
              </a:defRPr>
            </a:lvl3pPr>
            <a:lvl4pPr marL="1828754" indent="0" algn="ctr">
              <a:buNone/>
              <a:defRPr i="1">
                <a:solidFill>
                  <a:schemeClr val="bg1"/>
                </a:solidFill>
              </a:defRPr>
            </a:lvl4pPr>
            <a:lvl5pPr marL="2438339"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0672617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62079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2090959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947033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9"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91068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1228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4165714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52594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196954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5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00336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1007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1826002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2688610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07"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310306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569729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1"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347240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10760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148584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7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487216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7660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8034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2905356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8834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96807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51893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559666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3252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9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20620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4808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28012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101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4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0269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193800"/>
            <a:ext cx="11582400" cy="4830763"/>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676358" indent="-457189">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6400" y="1"/>
            <a:ext cx="11582400" cy="119856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51446067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6445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1"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76667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41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9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778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5577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49774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512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92039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44359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908108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75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736555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21863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1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022338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964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3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053977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523491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8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7035666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268792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09860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35"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016275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5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06799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176410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0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85125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92560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6850596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7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42533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1562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273598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56131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6854767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1881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1382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37755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572263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6386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1532036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0827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713310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23484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5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8132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737319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25484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153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0394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2216628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877446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107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38138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7931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3017598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901780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350801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8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012843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31899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1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884562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13962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3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875617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5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02113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10092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76029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0293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05439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1"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50311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5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6152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9777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226779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1368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39109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69349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932975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01413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56531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978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13756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25501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09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6405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96238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996184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926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14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3352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3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80422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0096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76006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5292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174945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9274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131553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87816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373670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1"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8228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37612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033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18313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58691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3"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083193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53821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4094171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5533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45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41278878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2368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819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1134374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1116132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1"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859521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6992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5"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42038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8462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875865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374533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095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517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294745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4031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0276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36543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69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21725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4022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3701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09481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39552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9861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15937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796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795"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884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5377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74739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5411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7142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323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734054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5499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995006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793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30004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89185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83822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91846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06651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996345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199588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035"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794179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31668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9"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4744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3200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1353345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3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44981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pPr defTabSz="914400"/>
            <a:fld id="{5D21F553-F3F8-4ED6-A7B2-185AD03704D1}" type="datetimeFigureOut">
              <a:rPr lang="en-US" sz="1800" smtClean="0">
                <a:solidFill>
                  <a:prstClr val="black"/>
                </a:solidFill>
              </a:rPr>
              <a:pPr defTabSz="914400"/>
              <a:t>9/29/2021</a:t>
            </a:fld>
            <a:endParaRPr lang="en-US" sz="1800"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pPr defTabSz="914400"/>
            <a:endParaRPr lang="en-US" sz="1800"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pPr defTabSz="914400"/>
            <a:fld id="{350709C2-9530-404F-9306-39C41BBE996B}" type="slidenum">
              <a:rPr lang="en-US" sz="1800" smtClean="0">
                <a:solidFill>
                  <a:prstClr val="black"/>
                </a:solidFill>
              </a:rPr>
              <a:pPr defTabSz="914400"/>
              <a:t>‹#›</a:t>
            </a:fld>
            <a:endParaRPr lang="en-US" sz="1800" dirty="0">
              <a:solidFill>
                <a:prstClr val="black"/>
              </a:solidFill>
            </a:endParaRP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298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179"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268955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987267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360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227584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44468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25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442754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2711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2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6080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4953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487626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75792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2636208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37857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34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2697272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4027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3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2504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2"/>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34525583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 y="665"/>
            <a:ext cx="12189631" cy="6856667"/>
          </a:xfrm>
          <a:prstGeom prst="rect">
            <a:avLst/>
          </a:prstGeom>
        </p:spPr>
      </p:pic>
      <p:sp>
        <p:nvSpPr>
          <p:cNvPr id="3" name="Subtitle 2"/>
          <p:cNvSpPr>
            <a:spLocks noGrp="1"/>
          </p:cNvSpPr>
          <p:nvPr>
            <p:ph type="subTitle" idx="1"/>
          </p:nvPr>
        </p:nvSpPr>
        <p:spPr>
          <a:xfrm>
            <a:off x="1524002" y="4326467"/>
            <a:ext cx="7480151" cy="1037659"/>
          </a:xfrm>
          <a:prstGeom prst="rect">
            <a:avLst/>
          </a:prstGeo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2"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85151436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3663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3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33330597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4969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64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8619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1218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313740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7924812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978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1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1803823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62697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3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1772405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2829292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8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2501768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2922157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07533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3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072345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825622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14050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5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85255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8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506729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2839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0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282755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8328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2247307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55"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229591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7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2721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9212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143296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7825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289778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52905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5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74120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4594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58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76385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7" cy="6856664"/>
          </a:xfrm>
          <a:prstGeom prst="rect">
            <a:avLst/>
          </a:prstGeom>
        </p:spPr>
      </p:pic>
      <p:sp>
        <p:nvSpPr>
          <p:cNvPr id="2" name="Title 1"/>
          <p:cNvSpPr>
            <a:spLocks noGrp="1"/>
          </p:cNvSpPr>
          <p:nvPr>
            <p:ph type="title"/>
          </p:nvPr>
        </p:nvSpPr>
        <p:spPr>
          <a:xfrm>
            <a:off x="1893457"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7"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6014612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996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89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8953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671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2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2633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8863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4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1209372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4072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971"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6179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08141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9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828285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37284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1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799274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1232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418493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112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406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830119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20272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509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128463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6115"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3367298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60810160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713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85334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6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776045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70207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87"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77578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21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38870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123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Tree>
    <p:extLst>
      <p:ext uri="{BB962C8B-B14F-4D97-AF65-F5344CB8AC3E}">
        <p14:creationId xmlns:p14="http://schemas.microsoft.com/office/powerpoint/2010/main" val="3025249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225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328929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28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16386946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30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1148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3497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533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1928697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2"/>
            </p:custDataLst>
            <p:extLst>
              <p:ext uri="{D42A27DB-BD31-4B8C-83A1-F6EECF244321}">
                <p14:modId xmlns:p14="http://schemas.microsoft.com/office/powerpoint/2010/main" val="332854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355" name="think-cell Slide" r:id="rId5" imgW="352" imgH="355" progId="TCLayout.ActiveDocument.1">
                  <p:embed/>
                </p:oleObj>
              </mc:Choice>
              <mc:Fallback>
                <p:oleObj name="think-cell Slide" r:id="rId5" imgW="352" imgH="355" progId="TCLayout.ActiveDocument.1">
                  <p:embed/>
                  <p:pic>
                    <p:nvPicPr>
                      <p:cNvPr id="29" name="Object 2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410751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529862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5999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79"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4987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243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3603945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2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336678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5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9603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82612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47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4168374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3583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249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658738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8657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2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714318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12812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4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06428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5216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57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16046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2693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59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49544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6"/>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671762"/>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715948745"/>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5726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61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3350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2560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4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257249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4787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6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1917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167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69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84007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24053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1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67742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5436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3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5206864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9289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63"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3858002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866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787"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2783276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1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4284756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3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dirty="0"/>
              <a:t>Click to add big statement text</a:t>
            </a:r>
          </a:p>
        </p:txBody>
      </p:sp>
    </p:spTree>
    <p:extLst>
      <p:ext uri="{BB962C8B-B14F-4D97-AF65-F5344CB8AC3E}">
        <p14:creationId xmlns:p14="http://schemas.microsoft.com/office/powerpoint/2010/main" val="13481376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endParaRPr lang="en-US" dirty="0"/>
          </a:p>
        </p:txBody>
      </p:sp>
    </p:spTree>
    <p:extLst>
      <p:ext uri="{BB962C8B-B14F-4D97-AF65-F5344CB8AC3E}">
        <p14:creationId xmlns:p14="http://schemas.microsoft.com/office/powerpoint/2010/main" val="295131506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85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2855919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33306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83"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372922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0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483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3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005253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5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783524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7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20251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400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dirty="0"/>
              <a:t>Questions or Discussion?</a:t>
            </a:r>
          </a:p>
        </p:txBody>
      </p:sp>
    </p:spTree>
    <p:extLst>
      <p:ext uri="{BB962C8B-B14F-4D97-AF65-F5344CB8AC3E}">
        <p14:creationId xmlns:p14="http://schemas.microsoft.com/office/powerpoint/2010/main" val="3413167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2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52699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56639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60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dirty="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2694756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83874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707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793362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9034231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93017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809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205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53709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93100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36942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1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dirty="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latin typeface="+mn-lt"/>
                <a:ea typeface="+mn-ea"/>
                <a:cs typeface="+mn-cs"/>
                <a:sym typeface="+mn-lt"/>
              </a:rPr>
              <a:t>Agenda</a:t>
            </a:r>
          </a:p>
        </p:txBody>
      </p:sp>
    </p:spTree>
    <p:extLst>
      <p:ext uri="{BB962C8B-B14F-4D97-AF65-F5344CB8AC3E}">
        <p14:creationId xmlns:p14="http://schemas.microsoft.com/office/powerpoint/2010/main" val="363206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55927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1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sym typeface="+mn-lt"/>
            </a:endParaRPr>
          </a:p>
        </p:txBody>
      </p:sp>
    </p:spTree>
    <p:extLst>
      <p:ext uri="{BB962C8B-B14F-4D97-AF65-F5344CB8AC3E}">
        <p14:creationId xmlns:p14="http://schemas.microsoft.com/office/powerpoint/2010/main" val="3392074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01277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19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44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0089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321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sym typeface="+mn-lt"/>
              </a:rPr>
              <a:t>Agenda</a:t>
            </a:r>
          </a:p>
        </p:txBody>
      </p:sp>
    </p:spTree>
    <p:extLst>
      <p:ext uri="{BB962C8B-B14F-4D97-AF65-F5344CB8AC3E}">
        <p14:creationId xmlns:p14="http://schemas.microsoft.com/office/powerpoint/2010/main" val="66492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43354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424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1055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054305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48044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041222"/>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1" name="TextBox 10"/>
          <p:cNvSpPr txBox="1"/>
          <p:nvPr userDrawn="1"/>
        </p:nvSpPr>
        <p:spPr>
          <a:xfrm>
            <a:off x="9631680" y="5969000"/>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390657782"/>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1832858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863041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8313428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0"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5"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7927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5"/>
            <a:ext cx="12189631" cy="6856667"/>
          </a:xfrm>
          <a:prstGeom prst="rect">
            <a:avLst/>
          </a:prstGeom>
        </p:spPr>
      </p:pic>
      <p:sp>
        <p:nvSpPr>
          <p:cNvPr id="3" name="Subtitle 2"/>
          <p:cNvSpPr>
            <a:spLocks noGrp="1"/>
          </p:cNvSpPr>
          <p:nvPr>
            <p:ph type="subTitle" idx="1"/>
          </p:nvPr>
        </p:nvSpPr>
        <p:spPr>
          <a:xfrm>
            <a:off x="1524003" y="4326468"/>
            <a:ext cx="7480151" cy="1037659"/>
          </a:xfrm>
          <a:prstGeom prst="rect">
            <a:avLst/>
          </a:prstGeom>
        </p:spPr>
        <p:txBody>
          <a:bodyPr/>
          <a:lstStyle>
            <a:lvl1pPr marL="0" indent="0" algn="l">
              <a:buNone/>
              <a:defRPr sz="24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3"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5633663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16626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8" y="668"/>
            <a:ext cx="12189627" cy="6856664"/>
          </a:xfrm>
          <a:prstGeom prst="rect">
            <a:avLst/>
          </a:prstGeom>
        </p:spPr>
      </p:pic>
      <p:sp>
        <p:nvSpPr>
          <p:cNvPr id="2" name="Title 1"/>
          <p:cNvSpPr>
            <a:spLocks noGrp="1"/>
          </p:cNvSpPr>
          <p:nvPr>
            <p:ph type="title"/>
          </p:nvPr>
        </p:nvSpPr>
        <p:spPr>
          <a:xfrm>
            <a:off x="1893458"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8"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716467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972402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21837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7"/>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5"/>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2" y="1681165"/>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Edit Master text styles</a:t>
            </a:r>
          </a:p>
        </p:txBody>
      </p:sp>
      <p:sp>
        <p:nvSpPr>
          <p:cNvPr id="6" name="Content Placeholder 5"/>
          <p:cNvSpPr>
            <a:spLocks noGrp="1"/>
          </p:cNvSpPr>
          <p:nvPr>
            <p:ph sz="quarter" idx="4"/>
          </p:nvPr>
        </p:nvSpPr>
        <p:spPr>
          <a:xfrm>
            <a:off x="6172202" y="2671763"/>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38612292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600200"/>
            <a:ext cx="12192000" cy="274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 name="Title 1"/>
          <p:cNvSpPr>
            <a:spLocks noGrp="1"/>
          </p:cNvSpPr>
          <p:nvPr>
            <p:ph type="title" hasCustomPrompt="1"/>
          </p:nvPr>
        </p:nvSpPr>
        <p:spPr>
          <a:xfrm>
            <a:off x="2133601" y="1600200"/>
            <a:ext cx="10058411" cy="2743203"/>
          </a:xfrm>
          <a:noFill/>
        </p:spPr>
        <p:txBody>
          <a:bodyPr wrap="square" lIns="365760" rIns="274320" anchor="ctr" anchorCtr="0"/>
          <a:lstStyle>
            <a:lvl1pPr algn="l">
              <a:defRPr sz="5333"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657601" y="4343400"/>
            <a:ext cx="8534401" cy="914400"/>
          </a:xfrm>
          <a:prstGeom prst="rect">
            <a:avLst/>
          </a:prstGeom>
          <a:noFill/>
        </p:spPr>
        <p:txBody>
          <a:bodyPr rIns="274320" anchor="t"/>
          <a:lstStyle>
            <a:lvl1pPr marL="0" indent="0">
              <a:buNone/>
              <a:defRPr sz="2667" spc="400">
                <a:solidFill>
                  <a:schemeClr val="bg1"/>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8256592" y="6446602"/>
            <a:ext cx="2106609" cy="235898"/>
          </a:xfrm>
          <a:prstGeom prst="rect">
            <a:avLst/>
          </a:prstGeom>
          <a:noFill/>
        </p:spPr>
        <p:txBody>
          <a:bodyPr wrap="square" rtlCol="0" anchor="b">
            <a:spAutoFit/>
          </a:bodyPr>
          <a:lstStyle/>
          <a:p>
            <a:pPr algn="r"/>
            <a:r>
              <a:rPr lang="en-US" sz="933"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4" y="1193800"/>
            <a:ext cx="3066492" cy="463296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4800" y="5461000"/>
            <a:ext cx="1431235" cy="1097280"/>
          </a:xfrm>
          <a:prstGeom prst="rect">
            <a:avLst/>
          </a:prstGeom>
        </p:spPr>
      </p:pic>
    </p:spTree>
    <p:extLst>
      <p:ext uri="{BB962C8B-B14F-4D97-AF65-F5344CB8AC3E}">
        <p14:creationId xmlns:p14="http://schemas.microsoft.com/office/powerpoint/2010/main" val="30828232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78" indent="0">
              <a:buNone/>
              <a:defRPr/>
            </a:lvl2pPr>
            <a:lvl3pPr marL="914354" indent="0">
              <a:buNone/>
              <a:defRPr/>
            </a:lvl3pPr>
            <a:lvl4pPr marL="1371532" indent="0">
              <a:buNone/>
              <a:defRPr/>
            </a:lvl4pPr>
            <a:lvl5pPr marL="1828709"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78" indent="0" algn="r">
              <a:buNone/>
              <a:defRPr/>
            </a:lvl2pPr>
            <a:lvl3pPr marL="914354" indent="0" algn="r">
              <a:buNone/>
              <a:defRPr/>
            </a:lvl3pPr>
            <a:lvl4pPr marL="1371532" indent="0" algn="r">
              <a:buNone/>
              <a:defRPr/>
            </a:lvl4pPr>
            <a:lvl5pPr marL="1828709" indent="0" algn="r">
              <a:buNone/>
              <a:defRPr/>
            </a:lvl5pPr>
          </a:lstStyle>
          <a:p>
            <a:pPr lvl="0"/>
            <a:endParaRPr lang="en-US" dirty="0"/>
          </a:p>
        </p:txBody>
      </p:sp>
    </p:spTree>
    <p:extLst>
      <p:ext uri="{BB962C8B-B14F-4D97-AF65-F5344CB8AC3E}">
        <p14:creationId xmlns:p14="http://schemas.microsoft.com/office/powerpoint/2010/main" val="6642252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1"/>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63141822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1"/>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053385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2"/>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2"/>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3"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10899428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4"/>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0243712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2"/>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1956553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78" indent="0">
              <a:buNone/>
              <a:defRPr sz="2800"/>
            </a:lvl2pPr>
            <a:lvl3pPr marL="914354" indent="0">
              <a:buNone/>
              <a:defRPr sz="2400"/>
            </a:lvl3pPr>
            <a:lvl4pPr marL="1371532" indent="0">
              <a:buNone/>
              <a:defRPr sz="2000"/>
            </a:lvl4pPr>
            <a:lvl5pPr marL="1828709" indent="0">
              <a:buNone/>
              <a:defRPr sz="2000"/>
            </a:lvl5pPr>
            <a:lvl6pPr marL="2285886" indent="0">
              <a:buNone/>
              <a:defRPr sz="2000"/>
            </a:lvl6pPr>
            <a:lvl7pPr marL="2743062" indent="0">
              <a:buNone/>
              <a:defRPr sz="2000"/>
            </a:lvl7pPr>
            <a:lvl8pPr marL="3200240" indent="0">
              <a:buNone/>
              <a:defRPr sz="2000"/>
            </a:lvl8pPr>
            <a:lvl9pPr marL="3657418" indent="0">
              <a:buNone/>
              <a:defRPr sz="2000"/>
            </a:lvl9pPr>
          </a:lstStyle>
          <a:p>
            <a:endParaRPr lang="en-US" dirty="0"/>
          </a:p>
        </p:txBody>
      </p:sp>
      <p:sp>
        <p:nvSpPr>
          <p:cNvPr id="4" name="Text Placeholder 3"/>
          <p:cNvSpPr>
            <a:spLocks noGrp="1"/>
          </p:cNvSpPr>
          <p:nvPr>
            <p:ph type="body" sz="half" idx="2"/>
          </p:nvPr>
        </p:nvSpPr>
        <p:spPr>
          <a:xfrm>
            <a:off x="839788" y="2057402"/>
            <a:ext cx="3932237" cy="3811588"/>
          </a:xfrm>
          <a:prstGeom prst="rect">
            <a:avLst/>
          </a:prstGeom>
        </p:spPr>
        <p:txBody>
          <a:bodyPr/>
          <a:lstStyle>
            <a:lvl1pPr marL="0" indent="0">
              <a:buNone/>
              <a:defRPr sz="1600"/>
            </a:lvl1pPr>
            <a:lvl2pPr marL="457178" indent="0">
              <a:buNone/>
              <a:defRPr sz="1400"/>
            </a:lvl2pPr>
            <a:lvl3pPr marL="914354" indent="0">
              <a:buNone/>
              <a:defRPr sz="1200"/>
            </a:lvl3pPr>
            <a:lvl4pPr marL="1371532" indent="0">
              <a:buNone/>
              <a:defRPr sz="1000"/>
            </a:lvl4pPr>
            <a:lvl5pPr marL="1828709" indent="0">
              <a:buNone/>
              <a:defRPr sz="1000"/>
            </a:lvl5pPr>
            <a:lvl6pPr marL="2285886" indent="0">
              <a:buNone/>
              <a:defRPr sz="1000"/>
            </a:lvl6pPr>
            <a:lvl7pPr marL="2743062" indent="0">
              <a:buNone/>
              <a:defRPr sz="1000"/>
            </a:lvl7pPr>
            <a:lvl8pPr marL="3200240" indent="0">
              <a:buNone/>
              <a:defRPr sz="1000"/>
            </a:lvl8pPr>
            <a:lvl9pPr marL="3657418"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5214212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1" y="3168075"/>
            <a:ext cx="4592495" cy="2354047"/>
          </a:xfrm>
        </p:spPr>
        <p:txBody>
          <a:bodyPr anchor="ctr">
            <a:normAutofit/>
          </a:bodyPr>
          <a:lstStyle>
            <a:lvl1pPr marL="0" indent="0">
              <a:buNone/>
              <a:defRPr sz="2000" b="0"/>
            </a:lvl1pPr>
            <a:lvl2pPr marL="457178" indent="0">
              <a:buNone/>
              <a:defRPr sz="2000"/>
            </a:lvl2pPr>
            <a:lvl3pPr marL="914354" indent="0">
              <a:buNone/>
              <a:defRPr/>
            </a:lvl3pPr>
            <a:lvl4pPr marL="1371532" indent="0">
              <a:buNone/>
              <a:defRPr/>
            </a:lvl4pPr>
            <a:lvl5pPr marL="1828709"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6" y="3168075"/>
            <a:ext cx="4592495" cy="2354047"/>
          </a:xfrm>
        </p:spPr>
        <p:txBody>
          <a:bodyPr anchor="ctr">
            <a:normAutofit/>
          </a:bodyPr>
          <a:lstStyle>
            <a:lvl1pPr marL="0" indent="0">
              <a:buNone/>
              <a:defRPr sz="2000" b="0"/>
            </a:lvl1pPr>
            <a:lvl2pPr marL="457178" indent="0">
              <a:buNone/>
              <a:defRPr sz="2000"/>
            </a:lvl2pPr>
            <a:lvl3pPr marL="914354" indent="0">
              <a:buNone/>
              <a:defRPr/>
            </a:lvl3pPr>
            <a:lvl4pPr marL="1371532" indent="0">
              <a:buNone/>
              <a:defRPr/>
            </a:lvl4pPr>
            <a:lvl5pPr marL="1828709"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1" y="5661894"/>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67360805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0" y="1803400"/>
            <a:ext cx="12192000" cy="25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A00A119E-7584-428E-89E9-092799AD27D7}" type="slidenum">
              <a:rPr lang="en-US" smtClean="0">
                <a:solidFill>
                  <a:prstClr val="black"/>
                </a:solidFill>
                <a:latin typeface="Arial"/>
              </a:rPr>
              <a:pPr/>
              <a:t>‹#›</a:t>
            </a:fld>
            <a:endParaRPr lang="en-US" dirty="0">
              <a:solidFill>
                <a:prstClr val="black"/>
              </a:solidFill>
              <a:latin typeface="Arial"/>
            </a:endParaRPr>
          </a:p>
        </p:txBody>
      </p:sp>
      <p:sp>
        <p:nvSpPr>
          <p:cNvPr id="9" name="TextBox 8"/>
          <p:cNvSpPr txBox="1"/>
          <p:nvPr/>
        </p:nvSpPr>
        <p:spPr>
          <a:xfrm>
            <a:off x="9428262" y="6454269"/>
            <a:ext cx="939680" cy="235898"/>
          </a:xfrm>
          <a:prstGeom prst="rect">
            <a:avLst/>
          </a:prstGeom>
          <a:noFill/>
        </p:spPr>
        <p:txBody>
          <a:bodyPr wrap="none" rtlCol="0">
            <a:spAutoFit/>
          </a:bodyPr>
          <a:lstStyle/>
          <a:p>
            <a:pPr algn="r"/>
            <a:r>
              <a:rPr lang="en-US" sz="933" i="1" dirty="0">
                <a:solidFill>
                  <a:prstClr val="black"/>
                </a:solidFill>
                <a:latin typeface="Arial"/>
              </a:rPr>
              <a:t>www.ksde.org</a:t>
            </a:r>
          </a:p>
        </p:txBody>
      </p:sp>
      <p:sp>
        <p:nvSpPr>
          <p:cNvPr id="2" name="Title 1"/>
          <p:cNvSpPr>
            <a:spLocks noGrp="1"/>
          </p:cNvSpPr>
          <p:nvPr>
            <p:ph type="ctrTitle"/>
          </p:nvPr>
        </p:nvSpPr>
        <p:spPr>
          <a:xfrm>
            <a:off x="3352802" y="1905000"/>
            <a:ext cx="8635999" cy="2336800"/>
          </a:xfrm>
        </p:spPr>
        <p:txBody>
          <a:bodyPr wrap="square" lIns="457200" anchor="b">
            <a:noAutofit/>
          </a:bodyPr>
          <a:lstStyle>
            <a:lvl1pPr algn="l">
              <a:defRPr sz="48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3454400" y="4343400"/>
            <a:ext cx="8534416" cy="965200"/>
          </a:xfrm>
          <a:prstGeom prst="rect">
            <a:avLst/>
          </a:prstGeom>
        </p:spPr>
        <p:txBody>
          <a:bodyPr anchor="ctr">
            <a:normAutofit/>
          </a:bodyPr>
          <a:lstStyle>
            <a:lvl1pPr marL="0" indent="0" algn="l">
              <a:buNone/>
              <a:defRPr sz="3200">
                <a:solidFill>
                  <a:schemeClr val="tx2"/>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4800" y="320040"/>
            <a:ext cx="3836264" cy="6217920"/>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5146" y="1315720"/>
            <a:ext cx="3173671" cy="487680"/>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475701" y="5702815"/>
            <a:ext cx="1409432" cy="1097280"/>
          </a:xfrm>
          <a:prstGeom prst="rect">
            <a:avLst/>
          </a:prstGeom>
        </p:spPr>
      </p:pic>
    </p:spTree>
    <p:extLst>
      <p:ext uri="{BB962C8B-B14F-4D97-AF65-F5344CB8AC3E}">
        <p14:creationId xmlns:p14="http://schemas.microsoft.com/office/powerpoint/2010/main" val="61289495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193801"/>
            <a:ext cx="11582400" cy="4830763"/>
          </a:xfrm>
          <a:prstGeom prst="rect">
            <a:avLst/>
          </a:prstGeom>
          <a:noFill/>
        </p:spPr>
        <p:txBody>
          <a:bodyPr/>
          <a:lstStyle>
            <a:lvl1pPr marL="0" indent="0">
              <a:buClr>
                <a:srgbClr val="4B4B4D"/>
              </a:buClr>
              <a:buSzPct val="125000"/>
              <a:buFont typeface="Arial" panose="020B0604020202020204" pitchFamily="34" charset="0"/>
              <a:buNone/>
              <a:defRPr/>
            </a:lvl1pPr>
            <a:lvl2pPr>
              <a:buClr>
                <a:schemeClr val="bg2"/>
              </a:buClr>
              <a:buSzPct val="120000"/>
              <a:defRPr/>
            </a:lvl2pPr>
            <a:lvl3pPr marL="1676317" indent="-457178">
              <a:buClr>
                <a:schemeClr val="tx2">
                  <a:lumMod val="75000"/>
                  <a:lumOff val="25000"/>
                </a:schemeClr>
              </a:buClr>
              <a:buFont typeface="Arial" panose="020B0604020202020204" pitchFamily="34" charset="0"/>
              <a:buChar char="•"/>
              <a:defRPr/>
            </a:lvl3pPr>
            <a:lvl4pPr>
              <a:buClr>
                <a:schemeClr val="accent1"/>
              </a:buClr>
              <a:defRPr/>
            </a:lvl4pPr>
            <a:lvl5pPr>
              <a:buClr>
                <a:schemeClr val="accent3">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406400" y="2"/>
            <a:ext cx="11582400" cy="1198561"/>
          </a:xfrm>
        </p:spPr>
        <p:txBody>
          <a:bodyPr/>
          <a:lstStyle/>
          <a:p>
            <a:r>
              <a:rPr lang="en-US"/>
              <a:t>Click to edit Master title style</a:t>
            </a:r>
            <a:endParaRPr lang="en-US" dirty="0"/>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17080491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77801"/>
            <a:ext cx="109728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87676993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3"/>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9658827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Rectangle 9"/>
          <p:cNvSpPr/>
          <p:nvPr userDrawn="1"/>
        </p:nvSpPr>
        <p:spPr>
          <a:xfrm>
            <a:off x="0" y="6041223"/>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1" name="TextBox 10"/>
          <p:cNvSpPr txBox="1"/>
          <p:nvPr userDrawn="1"/>
        </p:nvSpPr>
        <p:spPr>
          <a:xfrm>
            <a:off x="9631680" y="5969000"/>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9359672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8" name="Rectangle 7"/>
          <p:cNvSpPr/>
          <p:nvPr/>
        </p:nvSpPr>
        <p:spPr>
          <a:xfrm>
            <a:off x="0" y="1600200"/>
            <a:ext cx="12192000" cy="274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 name="Title 1"/>
          <p:cNvSpPr>
            <a:spLocks noGrp="1"/>
          </p:cNvSpPr>
          <p:nvPr>
            <p:ph type="title" hasCustomPrompt="1"/>
          </p:nvPr>
        </p:nvSpPr>
        <p:spPr>
          <a:xfrm>
            <a:off x="2133601" y="1600201"/>
            <a:ext cx="10058411" cy="2743203"/>
          </a:xfrm>
          <a:noFill/>
        </p:spPr>
        <p:txBody>
          <a:bodyPr wrap="square" lIns="365760" rIns="274320" anchor="ctr" anchorCtr="0"/>
          <a:lstStyle>
            <a:lvl1pPr algn="l">
              <a:defRPr sz="5333" b="1" cap="none">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3657602" y="4343400"/>
            <a:ext cx="8534401" cy="914400"/>
          </a:xfrm>
          <a:prstGeom prst="rect">
            <a:avLst/>
          </a:prstGeom>
          <a:noFill/>
        </p:spPr>
        <p:txBody>
          <a:bodyPr rIns="274320" anchor="t"/>
          <a:lstStyle>
            <a:lvl1pPr marL="0" indent="0">
              <a:buNone/>
              <a:defRPr sz="2667" spc="400">
                <a:solidFill>
                  <a:schemeClr val="bg1"/>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latin typeface="Arial"/>
            </a:endParaRPr>
          </a:p>
        </p:txBody>
      </p:sp>
      <p:sp>
        <p:nvSpPr>
          <p:cNvPr id="6" name="Slide Number Placeholder 5"/>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7" name="TextBox 16"/>
          <p:cNvSpPr txBox="1"/>
          <p:nvPr/>
        </p:nvSpPr>
        <p:spPr>
          <a:xfrm>
            <a:off x="8256593" y="6446602"/>
            <a:ext cx="2106609" cy="235898"/>
          </a:xfrm>
          <a:prstGeom prst="rect">
            <a:avLst/>
          </a:prstGeom>
          <a:noFill/>
        </p:spPr>
        <p:txBody>
          <a:bodyPr wrap="square" rtlCol="0" anchor="b">
            <a:spAutoFit/>
          </a:bodyPr>
          <a:lstStyle/>
          <a:p>
            <a:pPr algn="r"/>
            <a:r>
              <a:rPr lang="en-US" sz="933" i="1" dirty="0">
                <a:solidFill>
                  <a:srgbClr val="FFFFFF">
                    <a:lumMod val="65000"/>
                  </a:srgbClr>
                </a:solidFill>
                <a:latin typeface="Arial"/>
              </a:rPr>
              <a:t>www.ksde.org</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475" y="1193800"/>
            <a:ext cx="3066492" cy="463296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4801" y="5461000"/>
            <a:ext cx="1431235" cy="1097280"/>
          </a:xfrm>
          <a:prstGeom prst="rect">
            <a:avLst/>
          </a:prstGeom>
        </p:spPr>
      </p:pic>
    </p:spTree>
    <p:extLst>
      <p:ext uri="{BB962C8B-B14F-4D97-AF65-F5344CB8AC3E}">
        <p14:creationId xmlns:p14="http://schemas.microsoft.com/office/powerpoint/2010/main" val="36960918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77802"/>
            <a:ext cx="109728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193800"/>
            <a:ext cx="5588000" cy="4978400"/>
          </a:xfrm>
          <a:prstGeom prst="rect">
            <a:avLst/>
          </a:prstGeom>
          <a:noFill/>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72565148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177802"/>
            <a:ext cx="112776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2"/>
            <a:ext cx="55880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193802"/>
            <a:ext cx="54864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2414293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50800"/>
            <a:ext cx="11480800" cy="1143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04802" y="1193800"/>
            <a:ext cx="5534436" cy="1016000"/>
          </a:xfrm>
          <a:prstGeom prst="rect">
            <a:avLst/>
          </a:prstGeom>
          <a:solidFill>
            <a:schemeClr val="tx2"/>
          </a:solidFill>
        </p:spPr>
        <p:txBody>
          <a:bodyPr anchor="b">
            <a:normAutofit/>
          </a:bodyPr>
          <a:lstStyle>
            <a:lvl1pPr marL="0" indent="0">
              <a:buNone/>
              <a:defRPr sz="2400"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2" y="2209800"/>
            <a:ext cx="553655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396569" y="1193800"/>
            <a:ext cx="5389033" cy="1016000"/>
          </a:xfrm>
          <a:prstGeom prst="rect">
            <a:avLst/>
          </a:prstGeom>
          <a:solidFill>
            <a:schemeClr val="tx2"/>
          </a:solidFill>
        </p:spPr>
        <p:txBody>
          <a:bodyPr anchor="b">
            <a:normAutofit/>
          </a:bodyPr>
          <a:lstStyle>
            <a:lvl1pPr marL="0" indent="0">
              <a:buNone/>
              <a:defRPr sz="2400" b="1">
                <a:solidFill>
                  <a:schemeClr val="bg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396569" y="2209800"/>
            <a:ext cx="538903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9/29/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191830285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6"/>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sp>
        <p:nvSpPr>
          <p:cNvPr id="9" name="Rectangle 8"/>
          <p:cNvSpPr/>
          <p:nvPr userDrawn="1"/>
        </p:nvSpPr>
        <p:spPr>
          <a:xfrm>
            <a:off x="0" y="6109068"/>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0" name="TextBox 9"/>
          <p:cNvSpPr txBox="1"/>
          <p:nvPr userDrawn="1"/>
        </p:nvSpPr>
        <p:spPr>
          <a:xfrm>
            <a:off x="10820400" y="6036845"/>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21822174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Only" preserve="1">
  <p:cSld name="1_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6"/>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Tree>
    <p:extLst>
      <p:ext uri="{BB962C8B-B14F-4D97-AF65-F5344CB8AC3E}">
        <p14:creationId xmlns:p14="http://schemas.microsoft.com/office/powerpoint/2010/main" val="11041400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bg>
      <p:bgPr>
        <a:solidFill>
          <a:schemeClr val="tx1"/>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latin typeface="Arial"/>
            </a:endParaRPr>
          </a:p>
        </p:txBody>
      </p:sp>
      <p:sp>
        <p:nvSpPr>
          <p:cNvPr id="4" name="Slide Number Placeholder 3"/>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2" name="TextBox 11"/>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5" name="Picture 4"/>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grpSp>
        <p:nvGrpSpPr>
          <p:cNvPr id="15" name="Group 14"/>
          <p:cNvGrpSpPr/>
          <p:nvPr userDrawn="1"/>
        </p:nvGrpSpPr>
        <p:grpSpPr>
          <a:xfrm>
            <a:off x="0" y="6100080"/>
            <a:ext cx="12192000" cy="307778"/>
            <a:chOff x="0" y="4574984"/>
            <a:chExt cx="9144000" cy="230834"/>
          </a:xfrm>
        </p:grpSpPr>
        <p:sp>
          <p:nvSpPr>
            <p:cNvPr id="16" name="Rectangle 15"/>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7" name="TextBox 16"/>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1629296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solidFill>
          <a:schemeClr val="tx1"/>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3" name="TextBox 12"/>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4" name="Picture 13"/>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sp>
        <p:nvSpPr>
          <p:cNvPr id="7" name="Content Placeholder 6"/>
          <p:cNvSpPr>
            <a:spLocks noGrp="1"/>
          </p:cNvSpPr>
          <p:nvPr>
            <p:ph sz="quarter" idx="11"/>
          </p:nvPr>
        </p:nvSpPr>
        <p:spPr>
          <a:xfrm>
            <a:off x="250902" y="279400"/>
            <a:ext cx="11690201" cy="5994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7047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06400" y="177801"/>
            <a:ext cx="11277600" cy="1020761"/>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193801"/>
            <a:ext cx="55880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0" y="1193801"/>
            <a:ext cx="5486400" cy="4876799"/>
          </a:xfrm>
          <a:prstGeom prst="rect">
            <a:avLst/>
          </a:prstGeom>
          <a:noFill/>
        </p:spPr>
        <p:txBody>
          <a:bodyPr/>
          <a:lstStyle>
            <a:lvl1pPr marL="0" indent="0">
              <a:buNone/>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715955021"/>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1"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3" y="888132"/>
            <a:ext cx="3454399" cy="5238032"/>
          </a:xfrm>
          <a:prstGeom prst="rect">
            <a:avLst/>
          </a:prstGeom>
          <a:noFill/>
        </p:spPr>
        <p:txBody>
          <a:bodyPr/>
          <a:lstStyle>
            <a:lvl1pPr marL="380981" indent="-380981">
              <a:buFont typeface="Arial" panose="020B0604020202020204" pitchFamily="34" charset="0"/>
              <a:buChar char="•"/>
              <a:defRPr sz="2667">
                <a:solidFill>
                  <a:schemeClr val="bg1"/>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21" name="Group 20"/>
          <p:cNvGrpSpPr/>
          <p:nvPr userDrawn="1"/>
        </p:nvGrpSpPr>
        <p:grpSpPr>
          <a:xfrm>
            <a:off x="0" y="6100080"/>
            <a:ext cx="12192000" cy="307778"/>
            <a:chOff x="0" y="4574984"/>
            <a:chExt cx="9144000" cy="230834"/>
          </a:xfrm>
        </p:grpSpPr>
        <p:sp>
          <p:nvSpPr>
            <p:cNvPr id="22" name="Rectangle 21"/>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4" name="TextBox 23"/>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
        <p:nvSpPr>
          <p:cNvPr id="25" name="Title 1"/>
          <p:cNvSpPr>
            <a:spLocks noGrp="1"/>
          </p:cNvSpPr>
          <p:nvPr>
            <p:ph type="title"/>
          </p:nvPr>
        </p:nvSpPr>
        <p:spPr>
          <a:xfrm>
            <a:off x="406400" y="2"/>
            <a:ext cx="11480800" cy="787399"/>
          </a:xfrm>
        </p:spPr>
        <p:txBody>
          <a:bodyPr/>
          <a:lstStyle/>
          <a:p>
            <a:r>
              <a:rPr lang="en-US" dirty="0"/>
              <a:t>Click to edit Master title style</a:t>
            </a:r>
          </a:p>
        </p:txBody>
      </p:sp>
    </p:spTree>
    <p:extLst>
      <p:ext uri="{BB962C8B-B14F-4D97-AF65-F5344CB8AC3E}">
        <p14:creationId xmlns:p14="http://schemas.microsoft.com/office/powerpoint/2010/main" val="304990717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bg>
      <p:bgPr>
        <a:solidFill>
          <a:schemeClr val="tx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1" y="889000"/>
            <a:ext cx="7411827" cy="5283200"/>
          </a:xfrm>
          <a:prstGeom prst="rect">
            <a:avLst/>
          </a:prstGeom>
          <a:noFill/>
        </p:spPr>
        <p:txBody>
          <a:bodyPr wrap="square">
            <a:normAutofit/>
          </a:bodyPr>
          <a:lstStyle>
            <a:lvl1pPr>
              <a:defRPr sz="4267">
                <a:solidFill>
                  <a:schemeClr val="bg1"/>
                </a:solidFill>
              </a:defRPr>
            </a:lvl1pPr>
            <a:lvl2pPr>
              <a:defRPr sz="3733">
                <a:solidFill>
                  <a:schemeClr val="bg1"/>
                </a:solidFill>
              </a:defRPr>
            </a:lvl2pPr>
            <a:lvl3pPr>
              <a:defRPr sz="3200">
                <a:solidFill>
                  <a:schemeClr val="bg1"/>
                </a:solidFill>
              </a:defRPr>
            </a:lvl3pPr>
            <a:lvl4pPr>
              <a:defRPr sz="2667">
                <a:solidFill>
                  <a:schemeClr val="bg1"/>
                </a:solidFill>
              </a:defRPr>
            </a:lvl4pPr>
            <a:lvl5pPr>
              <a:defRPr sz="2667">
                <a:solidFill>
                  <a:schemeClr val="bg1"/>
                </a:solidFill>
              </a:defRPr>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31203" y="888132"/>
            <a:ext cx="3454399" cy="5238032"/>
          </a:xfrm>
          <a:prstGeom prst="rect">
            <a:avLst/>
          </a:prstGeom>
          <a:noFill/>
        </p:spPr>
        <p:txBody>
          <a:bodyPr/>
          <a:lstStyle>
            <a:lvl1pPr marL="380981" indent="-380981">
              <a:buFont typeface="Arial" panose="020B0604020202020204" pitchFamily="34" charset="0"/>
              <a:buChar char="•"/>
              <a:defRPr sz="2667">
                <a:solidFill>
                  <a:schemeClr val="bg1"/>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6" name="TextBox 15"/>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5" name="Title 1"/>
          <p:cNvSpPr>
            <a:spLocks noGrp="1"/>
          </p:cNvSpPr>
          <p:nvPr>
            <p:ph type="title"/>
          </p:nvPr>
        </p:nvSpPr>
        <p:spPr>
          <a:xfrm>
            <a:off x="406400" y="2"/>
            <a:ext cx="11480800" cy="787399"/>
          </a:xfrm>
        </p:spPr>
        <p:txBody>
          <a:bodyPr/>
          <a:lstStyle/>
          <a:p>
            <a:r>
              <a:rPr lang="en-US" dirty="0"/>
              <a:t>Click to edit Master title style</a:t>
            </a:r>
          </a:p>
        </p:txBody>
      </p:sp>
      <p:sp>
        <p:nvSpPr>
          <p:cNvPr id="13" name="Rectangle 12"/>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4" name="TextBox 13"/>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35272479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sp>
        <p:nvSpPr>
          <p:cNvPr id="2" name="Title 1"/>
          <p:cNvSpPr>
            <a:spLocks noGrp="1"/>
          </p:cNvSpPr>
          <p:nvPr>
            <p:ph type="title"/>
          </p:nvPr>
        </p:nvSpPr>
        <p:spPr>
          <a:xfrm>
            <a:off x="513281" y="4800601"/>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7"/>
            <a:ext cx="11988800" cy="4549775"/>
          </a:xfrm>
          <a:prstGeom prst="rect">
            <a:avLst/>
          </a:prstGeom>
          <a:noFill/>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4"/>
            <a:ext cx="10363213" cy="804863"/>
          </a:xfrm>
          <a:prstGeom prst="rect">
            <a:avLst/>
          </a:prstGeom>
          <a:noFill/>
        </p:spPr>
        <p:txBody>
          <a:bodyPr/>
          <a:lstStyle>
            <a:lvl1pPr marL="0" indent="0">
              <a:buNone/>
              <a:defRPr sz="1867">
                <a:solidFill>
                  <a:schemeClr val="bg1"/>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grpSp>
        <p:nvGrpSpPr>
          <p:cNvPr id="18" name="Group 17"/>
          <p:cNvGrpSpPr/>
          <p:nvPr userDrawn="1"/>
        </p:nvGrpSpPr>
        <p:grpSpPr>
          <a:xfrm>
            <a:off x="0" y="6100080"/>
            <a:ext cx="12192000" cy="307778"/>
            <a:chOff x="0" y="4574984"/>
            <a:chExt cx="9144000" cy="230834"/>
          </a:xfrm>
        </p:grpSpPr>
        <p:sp>
          <p:nvSpPr>
            <p:cNvPr id="19" name="Rectangle 18"/>
            <p:cNvSpPr/>
            <p:nvPr userDrawn="1"/>
          </p:nvSpPr>
          <p:spPr>
            <a:xfrm>
              <a:off x="0" y="4629150"/>
              <a:ext cx="8115300" cy="141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0" name="TextBox 19"/>
            <p:cNvSpPr txBox="1"/>
            <p:nvPr userDrawn="1"/>
          </p:nvSpPr>
          <p:spPr>
            <a:xfrm>
              <a:off x="8115300" y="4574984"/>
              <a:ext cx="1028700" cy="230834"/>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grpSp>
    </p:spTree>
    <p:extLst>
      <p:ext uri="{BB962C8B-B14F-4D97-AF65-F5344CB8AC3E}">
        <p14:creationId xmlns:p14="http://schemas.microsoft.com/office/powerpoint/2010/main" val="327543481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picTx" preserve="1">
  <p:cSld name="1_Picture with Caption">
    <p:bg>
      <p:bgPr>
        <a:solidFill>
          <a:schemeClr val="tx1"/>
        </a:solidFill>
        <a:effectLst/>
      </p:bgPr>
    </p:bg>
    <p:spTree>
      <p:nvGrpSpPr>
        <p:cNvPr id="1" name=""/>
        <p:cNvGrpSpPr/>
        <p:nvPr/>
      </p:nvGrpSpPr>
      <p:grpSpPr>
        <a:xfrm>
          <a:off x="0" y="0"/>
          <a:ext cx="0" cy="0"/>
          <a:chOff x="0" y="0"/>
          <a:chExt cx="0" cy="0"/>
        </a:xfrm>
      </p:grpSpPr>
      <p:pic>
        <p:nvPicPr>
          <p:cNvPr id="22" name="Picture 21"/>
          <p:cNvPicPr>
            <a:picLocks noChangeAspect="1"/>
          </p:cNvPicPr>
          <p:nvPr/>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sp>
        <p:nvSpPr>
          <p:cNvPr id="2" name="Title 1"/>
          <p:cNvSpPr>
            <a:spLocks noGrp="1"/>
          </p:cNvSpPr>
          <p:nvPr>
            <p:ph type="title"/>
          </p:nvPr>
        </p:nvSpPr>
        <p:spPr>
          <a:xfrm>
            <a:off x="513281" y="4800601"/>
            <a:ext cx="11069135" cy="566739"/>
          </a:xfrm>
        </p:spPr>
        <p:txBody>
          <a:bodyPr anchor="b"/>
          <a:lstStyle>
            <a:lvl1pPr algn="l">
              <a:defRPr sz="2667" b="0"/>
            </a:lvl1pPr>
          </a:lstStyle>
          <a:p>
            <a:r>
              <a:rPr lang="en-US"/>
              <a:t>Click to edit Master title style</a:t>
            </a:r>
            <a:endParaRPr lang="en-US" dirty="0"/>
          </a:p>
        </p:txBody>
      </p:sp>
      <p:sp>
        <p:nvSpPr>
          <p:cNvPr id="3" name="Picture Placeholder 2"/>
          <p:cNvSpPr>
            <a:spLocks noGrp="1"/>
          </p:cNvSpPr>
          <p:nvPr>
            <p:ph type="pic" idx="1"/>
          </p:nvPr>
        </p:nvSpPr>
        <p:spPr>
          <a:xfrm>
            <a:off x="101600" y="177817"/>
            <a:ext cx="11988800" cy="4549775"/>
          </a:xfrm>
          <a:prstGeom prst="rect">
            <a:avLst/>
          </a:prstGeom>
          <a:noFill/>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r>
              <a:rPr lang="en-US" dirty="0"/>
              <a:t>Click icon to add picture</a:t>
            </a:r>
          </a:p>
        </p:txBody>
      </p:sp>
      <p:sp>
        <p:nvSpPr>
          <p:cNvPr id="4" name="Text Placeholder 3"/>
          <p:cNvSpPr>
            <a:spLocks noGrp="1"/>
          </p:cNvSpPr>
          <p:nvPr>
            <p:ph type="body" sz="half" idx="2"/>
          </p:nvPr>
        </p:nvSpPr>
        <p:spPr>
          <a:xfrm>
            <a:off x="1219200" y="5367354"/>
            <a:ext cx="10363213" cy="804863"/>
          </a:xfrm>
          <a:prstGeom prst="rect">
            <a:avLst/>
          </a:prstGeom>
          <a:noFill/>
        </p:spPr>
        <p:txBody>
          <a:bodyPr/>
          <a:lstStyle>
            <a:lvl1pPr marL="0" indent="0">
              <a:buNone/>
              <a:defRPr sz="1867">
                <a:solidFill>
                  <a:schemeClr val="bg1"/>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latin typeface="Arial"/>
            </a:endParaRPr>
          </a:p>
        </p:txBody>
      </p:sp>
      <p:sp>
        <p:nvSpPr>
          <p:cNvPr id="7" name="Slide Number Placeholder 6"/>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17" name="TextBox 1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19" name="Rectangle 18"/>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9CFF1A"/>
              </a:solidFill>
              <a:latin typeface="Arial"/>
            </a:endParaRPr>
          </a:p>
        </p:txBody>
      </p:sp>
      <p:sp>
        <p:nvSpPr>
          <p:cNvPr id="20" name="TextBox 19"/>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Tree>
    <p:extLst>
      <p:ext uri="{BB962C8B-B14F-4D97-AF65-F5344CB8AC3E}">
        <p14:creationId xmlns:p14="http://schemas.microsoft.com/office/powerpoint/2010/main" val="4644890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2_Custom Layou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06400" y="359887"/>
            <a:ext cx="11582400" cy="656591"/>
          </a:xfrm>
        </p:spPr>
        <p:txBody>
          <a:bodyPr wrap="square">
            <a:normAutofit/>
          </a:bodyPr>
          <a:lstStyle/>
          <a:p>
            <a:r>
              <a:rPr lang="en-US" dirty="0"/>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19" name="Picture 18"/>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1" y="929640"/>
            <a:ext cx="3054201" cy="4998720"/>
          </a:xfrm>
          <a:prstGeom prst="rect">
            <a:avLst/>
          </a:prstGeom>
          <a:noFill/>
          <a:ln>
            <a:noFill/>
          </a:ln>
        </p:spPr>
      </p:pic>
      <p:sp>
        <p:nvSpPr>
          <p:cNvPr id="20" name="Rectangle 19"/>
          <p:cNvSpPr/>
          <p:nvPr userDrawn="1"/>
        </p:nvSpPr>
        <p:spPr>
          <a:xfrm>
            <a:off x="0" y="6172288"/>
            <a:ext cx="9875520" cy="188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Box 20"/>
          <p:cNvSpPr txBox="1"/>
          <p:nvPr userDrawn="1"/>
        </p:nvSpPr>
        <p:spPr>
          <a:xfrm>
            <a:off x="9631680" y="6100067"/>
            <a:ext cx="2560320" cy="307777"/>
          </a:xfrm>
          <a:prstGeom prst="rect">
            <a:avLst/>
          </a:prstGeom>
          <a:noFill/>
        </p:spPr>
        <p:txBody>
          <a:bodyPr wrap="square" rtlCol="0">
            <a:spAutoFit/>
          </a:bodyPr>
          <a:lstStyle/>
          <a:p>
            <a:pPr algn="r"/>
            <a:r>
              <a:rPr lang="en-US" sz="1400" b="1" dirty="0">
                <a:solidFill>
                  <a:srgbClr val="9CFF1A"/>
                </a:solidFill>
                <a:latin typeface="Century Gothic" panose="020B0502020202020204" pitchFamily="34" charset="0"/>
              </a:rPr>
              <a:t>BUSINESS AND INDUSTRY</a:t>
            </a:r>
          </a:p>
        </p:txBody>
      </p:sp>
      <p:sp>
        <p:nvSpPr>
          <p:cNvPr id="22" name="TextBox 21"/>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23" name="Picture 2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414765035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19225172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9/29/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1"/>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6724209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35585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dirty="0"/>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dirty="0"/>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dirty="0"/>
              <a:t>Date</a:t>
            </a:r>
          </a:p>
        </p:txBody>
      </p:sp>
    </p:spTree>
    <p:extLst>
      <p:ext uri="{BB962C8B-B14F-4D97-AF65-F5344CB8AC3E}">
        <p14:creationId xmlns:p14="http://schemas.microsoft.com/office/powerpoint/2010/main" val="3269530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24347"/>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593808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44462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dirty="0"/>
              <a:t>Title</a:t>
            </a:r>
          </a:p>
        </p:txBody>
      </p:sp>
    </p:spTree>
    <p:extLst>
      <p:ext uri="{BB962C8B-B14F-4D97-AF65-F5344CB8AC3E}">
        <p14:creationId xmlns:p14="http://schemas.microsoft.com/office/powerpoint/2010/main" val="634166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50800"/>
            <a:ext cx="11480800" cy="11430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hasCustomPrompt="1"/>
          </p:nvPr>
        </p:nvSpPr>
        <p:spPr>
          <a:xfrm>
            <a:off x="304801" y="1193800"/>
            <a:ext cx="5534436"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4" name="Content Placeholder 3"/>
          <p:cNvSpPr>
            <a:spLocks noGrp="1"/>
          </p:cNvSpPr>
          <p:nvPr>
            <p:ph sz="half" idx="2"/>
          </p:nvPr>
        </p:nvSpPr>
        <p:spPr>
          <a:xfrm>
            <a:off x="304801" y="2209800"/>
            <a:ext cx="553655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396568" y="1193800"/>
            <a:ext cx="5389033" cy="1016000"/>
          </a:xfrm>
          <a:prstGeom prst="rect">
            <a:avLst/>
          </a:prstGeom>
          <a:solidFill>
            <a:schemeClr val="tx2"/>
          </a:solidFill>
        </p:spPr>
        <p:txBody>
          <a:bodyPr anchor="b">
            <a:normAutofit/>
          </a:bodyPr>
          <a:lstStyle>
            <a:lvl1pPr marL="0" indent="0">
              <a:buNone/>
              <a:defRPr sz="2400" b="1">
                <a:solidFill>
                  <a:schemeClr val="bg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6" name="Content Placeholder 5"/>
          <p:cNvSpPr>
            <a:spLocks noGrp="1"/>
          </p:cNvSpPr>
          <p:nvPr>
            <p:ph sz="quarter" idx="4"/>
          </p:nvPr>
        </p:nvSpPr>
        <p:spPr>
          <a:xfrm>
            <a:off x="6396568" y="2209800"/>
            <a:ext cx="5389033" cy="3951288"/>
          </a:xfrm>
          <a:prstGeom prst="rect">
            <a:avLst/>
          </a:prstGeom>
          <a:solidFill>
            <a:schemeClr val="bg1">
              <a:alpha val="95000"/>
            </a:schemeClr>
          </a:solidFill>
        </p:spPr>
        <p:txBody>
          <a:bodyPr/>
          <a:lstStyle>
            <a:lvl1pPr>
              <a:defRPr sz="2667"/>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atin typeface="Century Gothic" panose="020B0502020202020204" pitchFamily="34" charset="0"/>
              </a:defRPr>
            </a:lvl1pPr>
          </a:lstStyle>
          <a:p>
            <a:fld id="{96F4B587-9FDF-46DF-B460-9026AE4DF246}" type="datetimeFigureOut">
              <a:rPr lang="en-US" smtClean="0">
                <a:solidFill>
                  <a:prstClr val="black">
                    <a:tint val="75000"/>
                  </a:prstClr>
                </a:solidFill>
              </a:rPr>
              <a:pPr/>
              <a:t>9/29/2021</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latin typeface="Arial"/>
            </a:endParaRPr>
          </a:p>
        </p:txBody>
      </p:sp>
      <p:sp>
        <p:nvSpPr>
          <p:cNvPr id="9" name="Slide Number Placeholder 8"/>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Tree>
    <p:extLst>
      <p:ext uri="{BB962C8B-B14F-4D97-AF65-F5344CB8AC3E}">
        <p14:creationId xmlns:p14="http://schemas.microsoft.com/office/powerpoint/2010/main" val="215350349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68151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dirty="0"/>
              <a:t>Title</a:t>
            </a:r>
          </a:p>
        </p:txBody>
      </p:sp>
    </p:spTree>
    <p:extLst>
      <p:ext uri="{BB962C8B-B14F-4D97-AF65-F5344CB8AC3E}">
        <p14:creationId xmlns:p14="http://schemas.microsoft.com/office/powerpoint/2010/main" val="2407429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1726573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5"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7"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dirty="0"/>
              <a:t>Click to add title</a:t>
            </a:r>
          </a:p>
        </p:txBody>
      </p:sp>
    </p:spTree>
    <p:extLst>
      <p:ext uri="{BB962C8B-B14F-4D97-AF65-F5344CB8AC3E}">
        <p14:creationId xmlns:p14="http://schemas.microsoft.com/office/powerpoint/2010/main" val="3469870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cstate="print">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dirty="0"/>
              <a:t>Title</a:t>
            </a:r>
          </a:p>
        </p:txBody>
      </p:sp>
    </p:spTree>
    <p:extLst>
      <p:ext uri="{BB962C8B-B14F-4D97-AF65-F5344CB8AC3E}">
        <p14:creationId xmlns:p14="http://schemas.microsoft.com/office/powerpoint/2010/main" val="360228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81600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3"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dirty="0"/>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123901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9124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7" name="think-cell Slide" r:id="rId5" imgW="352" imgH="355" progId="TCLayout.ActiveDocument.1">
                  <p:embed/>
                </p:oleObj>
              </mc:Choice>
              <mc:Fallback>
                <p:oleObj name="think-cell Slide" r:id="rId5" imgW="352" imgH="355"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dirty="0"/>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50531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1"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1290881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1017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735593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4129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9"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dirty="0"/>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94029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3"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1475776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Title 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173045"/>
            <a:ext cx="10972800" cy="1020761"/>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latin typeface="Arial"/>
            </a:endParaRPr>
          </a:p>
        </p:txBody>
      </p:sp>
      <p:sp>
        <p:nvSpPr>
          <p:cNvPr id="5" name="Slide Number Placeholder 4"/>
          <p:cNvSpPr>
            <a:spLocks noGrp="1"/>
          </p:cNvSpPr>
          <p:nvPr>
            <p:ph type="sldNum" sz="quarter" idx="12"/>
          </p:nvPr>
        </p:nvSpPr>
        <p:spPr/>
        <p:txBody>
          <a:body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
        <p:nvSpPr>
          <p:cNvPr id="7" name="TextBox 6"/>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80000"/>
                    </a14:imgEffect>
                  </a14:imgLayer>
                </a14:imgProps>
              </a:ext>
              <a:ext uri="{28A0092B-C50C-407E-A947-70E740481C1C}">
                <a14:useLocalDpi xmlns:a14="http://schemas.microsoft.com/office/drawing/2010/main" val="0"/>
              </a:ext>
            </a:extLst>
          </a:blip>
          <a:stretch>
            <a:fillRect/>
          </a:stretch>
        </p:blipFill>
        <p:spPr>
          <a:xfrm>
            <a:off x="197000" y="929640"/>
            <a:ext cx="3054201" cy="4998720"/>
          </a:xfrm>
          <a:prstGeom prst="rect">
            <a:avLst/>
          </a:prstGeom>
          <a:noFill/>
          <a:ln>
            <a:noFill/>
          </a:ln>
        </p:spPr>
      </p:pic>
      <p:sp>
        <p:nvSpPr>
          <p:cNvPr id="9" name="Rectangle 8"/>
          <p:cNvSpPr/>
          <p:nvPr userDrawn="1"/>
        </p:nvSpPr>
        <p:spPr>
          <a:xfrm>
            <a:off x="0" y="6109067"/>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10" name="TextBox 9"/>
          <p:cNvSpPr txBox="1"/>
          <p:nvPr userDrawn="1"/>
        </p:nvSpPr>
        <p:spPr>
          <a:xfrm>
            <a:off x="10820400" y="6036845"/>
            <a:ext cx="1371600" cy="307777"/>
          </a:xfrm>
          <a:prstGeom prst="rect">
            <a:avLst/>
          </a:prstGeom>
          <a:noFill/>
        </p:spPr>
        <p:txBody>
          <a:bodyPr wrap="square" rtlCol="0">
            <a:spAutoFit/>
          </a:bodyPr>
          <a:lstStyle/>
          <a:p>
            <a:pPr algn="r"/>
            <a:r>
              <a:rPr lang="en-US" sz="1400" b="1" dirty="0">
                <a:solidFill>
                  <a:srgbClr val="22D9E5"/>
                </a:solidFill>
                <a:latin typeface="Century Gothic" panose="020B0502020202020204" pitchFamily="34" charset="0"/>
              </a:rPr>
              <a:t>COMMUNITY</a:t>
            </a:r>
          </a:p>
        </p:txBody>
      </p:sp>
    </p:spTree>
    <p:extLst>
      <p:ext uri="{BB962C8B-B14F-4D97-AF65-F5344CB8AC3E}">
        <p14:creationId xmlns:p14="http://schemas.microsoft.com/office/powerpoint/2010/main" val="192702586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58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9868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dirty="0"/>
              <a:t>Click to add title</a:t>
            </a:r>
          </a:p>
        </p:txBody>
      </p:sp>
    </p:spTree>
    <p:extLst>
      <p:ext uri="{BB962C8B-B14F-4D97-AF65-F5344CB8AC3E}">
        <p14:creationId xmlns:p14="http://schemas.microsoft.com/office/powerpoint/2010/main" val="608254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56506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dirty="0"/>
              <a:t>Click to add title</a:t>
            </a:r>
          </a:p>
        </p:txBody>
      </p:sp>
    </p:spTree>
    <p:extLst>
      <p:ext uri="{BB962C8B-B14F-4D97-AF65-F5344CB8AC3E}">
        <p14:creationId xmlns:p14="http://schemas.microsoft.com/office/powerpoint/2010/main" val="741426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980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71074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9065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818227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63142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325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2466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3621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427371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934642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136229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9"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endParaRPr lang="en-US" sz="700" dirty="0">
              <a:solidFill>
                <a:schemeClr val="bg1"/>
              </a:solidFill>
              <a:latin typeface="+mn-lt"/>
              <a:ea typeface="+mn-ea"/>
              <a:cs typeface="+mn-cs"/>
              <a:sym typeface="+mn-lt"/>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dirty="0"/>
              <a:t>Click to add title</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80932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330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endParaRPr lang="en-US" sz="700" dirty="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60148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10.jpe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6" Type="http://schemas.openxmlformats.org/officeDocument/2006/relationships/image" Target="../media/image11.pn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theme" Target="../theme/theme3.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6" Type="http://schemas.openxmlformats.org/officeDocument/2006/relationships/image" Target="../media/image11.pn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heme" Target="../theme/theme4.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image" Target="../media/image1.png"/><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theme" Target="../theme/theme5.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02.xml"/><Relationship Id="rId21" Type="http://schemas.openxmlformats.org/officeDocument/2006/relationships/slideLayout" Target="../slideLayouts/slideLayout97.xml"/><Relationship Id="rId42" Type="http://schemas.openxmlformats.org/officeDocument/2006/relationships/slideLayout" Target="../slideLayouts/slideLayout118.xml"/><Relationship Id="rId47" Type="http://schemas.openxmlformats.org/officeDocument/2006/relationships/slideLayout" Target="../slideLayouts/slideLayout123.xml"/><Relationship Id="rId63" Type="http://schemas.openxmlformats.org/officeDocument/2006/relationships/slideLayout" Target="../slideLayouts/slideLayout139.xml"/><Relationship Id="rId68" Type="http://schemas.openxmlformats.org/officeDocument/2006/relationships/slideLayout" Target="../slideLayouts/slideLayout144.xml"/><Relationship Id="rId16" Type="http://schemas.openxmlformats.org/officeDocument/2006/relationships/slideLayout" Target="../slideLayouts/slideLayout92.xml"/><Relationship Id="rId11" Type="http://schemas.openxmlformats.org/officeDocument/2006/relationships/slideLayout" Target="../slideLayouts/slideLayout87.xml"/><Relationship Id="rId32" Type="http://schemas.openxmlformats.org/officeDocument/2006/relationships/slideLayout" Target="../slideLayouts/slideLayout108.xml"/><Relationship Id="rId37" Type="http://schemas.openxmlformats.org/officeDocument/2006/relationships/slideLayout" Target="../slideLayouts/slideLayout113.xml"/><Relationship Id="rId53" Type="http://schemas.openxmlformats.org/officeDocument/2006/relationships/slideLayout" Target="../slideLayouts/slideLayout129.xml"/><Relationship Id="rId58" Type="http://schemas.openxmlformats.org/officeDocument/2006/relationships/slideLayout" Target="../slideLayouts/slideLayout134.xml"/><Relationship Id="rId74" Type="http://schemas.openxmlformats.org/officeDocument/2006/relationships/slideLayout" Target="../slideLayouts/slideLayout150.xml"/><Relationship Id="rId79" Type="http://schemas.openxmlformats.org/officeDocument/2006/relationships/tags" Target="../tags/tag2.xml"/><Relationship Id="rId5" Type="http://schemas.openxmlformats.org/officeDocument/2006/relationships/slideLayout" Target="../slideLayouts/slideLayout81.xml"/><Relationship Id="rId61" Type="http://schemas.openxmlformats.org/officeDocument/2006/relationships/slideLayout" Target="../slideLayouts/slideLayout137.xml"/><Relationship Id="rId19" Type="http://schemas.openxmlformats.org/officeDocument/2006/relationships/slideLayout" Target="../slideLayouts/slideLayout9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slideLayout" Target="../slideLayouts/slideLayout111.xml"/><Relationship Id="rId43" Type="http://schemas.openxmlformats.org/officeDocument/2006/relationships/slideLayout" Target="../slideLayouts/slideLayout119.xml"/><Relationship Id="rId48" Type="http://schemas.openxmlformats.org/officeDocument/2006/relationships/slideLayout" Target="../slideLayouts/slideLayout124.xml"/><Relationship Id="rId56" Type="http://schemas.openxmlformats.org/officeDocument/2006/relationships/slideLayout" Target="../slideLayouts/slideLayout132.xml"/><Relationship Id="rId64" Type="http://schemas.openxmlformats.org/officeDocument/2006/relationships/slideLayout" Target="../slideLayouts/slideLayout140.xml"/><Relationship Id="rId69" Type="http://schemas.openxmlformats.org/officeDocument/2006/relationships/slideLayout" Target="../slideLayouts/slideLayout145.xml"/><Relationship Id="rId77" Type="http://schemas.openxmlformats.org/officeDocument/2006/relationships/vmlDrawing" Target="../drawings/vmlDrawing1.vml"/><Relationship Id="rId8" Type="http://schemas.openxmlformats.org/officeDocument/2006/relationships/slideLayout" Target="../slideLayouts/slideLayout84.xml"/><Relationship Id="rId51" Type="http://schemas.openxmlformats.org/officeDocument/2006/relationships/slideLayout" Target="../slideLayouts/slideLayout127.xml"/><Relationship Id="rId72" Type="http://schemas.openxmlformats.org/officeDocument/2006/relationships/slideLayout" Target="../slideLayouts/slideLayout148.xml"/><Relationship Id="rId80" Type="http://schemas.openxmlformats.org/officeDocument/2006/relationships/oleObject" Target="../embeddings/oleObject1.bin"/><Relationship Id="rId3" Type="http://schemas.openxmlformats.org/officeDocument/2006/relationships/slideLayout" Target="../slideLayouts/slideLayout79.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38" Type="http://schemas.openxmlformats.org/officeDocument/2006/relationships/slideLayout" Target="../slideLayouts/slideLayout114.xml"/><Relationship Id="rId46" Type="http://schemas.openxmlformats.org/officeDocument/2006/relationships/slideLayout" Target="../slideLayouts/slideLayout122.xml"/><Relationship Id="rId59" Type="http://schemas.openxmlformats.org/officeDocument/2006/relationships/slideLayout" Target="../slideLayouts/slideLayout135.xml"/><Relationship Id="rId67" Type="http://schemas.openxmlformats.org/officeDocument/2006/relationships/slideLayout" Target="../slideLayouts/slideLayout143.xml"/><Relationship Id="rId20" Type="http://schemas.openxmlformats.org/officeDocument/2006/relationships/slideLayout" Target="../slideLayouts/slideLayout96.xml"/><Relationship Id="rId41" Type="http://schemas.openxmlformats.org/officeDocument/2006/relationships/slideLayout" Target="../slideLayouts/slideLayout117.xml"/><Relationship Id="rId54" Type="http://schemas.openxmlformats.org/officeDocument/2006/relationships/slideLayout" Target="../slideLayouts/slideLayout130.xml"/><Relationship Id="rId62" Type="http://schemas.openxmlformats.org/officeDocument/2006/relationships/slideLayout" Target="../slideLayouts/slideLayout138.xml"/><Relationship Id="rId70" Type="http://schemas.openxmlformats.org/officeDocument/2006/relationships/slideLayout" Target="../slideLayouts/slideLayout146.xml"/><Relationship Id="rId75" Type="http://schemas.openxmlformats.org/officeDocument/2006/relationships/slideLayout" Target="../slideLayouts/slideLayout151.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slideLayout" Target="../slideLayouts/slideLayout112.xml"/><Relationship Id="rId49" Type="http://schemas.openxmlformats.org/officeDocument/2006/relationships/slideLayout" Target="../slideLayouts/slideLayout125.xml"/><Relationship Id="rId57" Type="http://schemas.openxmlformats.org/officeDocument/2006/relationships/slideLayout" Target="../slideLayouts/slideLayout133.xml"/><Relationship Id="rId10" Type="http://schemas.openxmlformats.org/officeDocument/2006/relationships/slideLayout" Target="../slideLayouts/slideLayout86.xml"/><Relationship Id="rId31" Type="http://schemas.openxmlformats.org/officeDocument/2006/relationships/slideLayout" Target="../slideLayouts/slideLayout107.xml"/><Relationship Id="rId44" Type="http://schemas.openxmlformats.org/officeDocument/2006/relationships/slideLayout" Target="../slideLayouts/slideLayout120.xml"/><Relationship Id="rId52" Type="http://schemas.openxmlformats.org/officeDocument/2006/relationships/slideLayout" Target="../slideLayouts/slideLayout128.xml"/><Relationship Id="rId60" Type="http://schemas.openxmlformats.org/officeDocument/2006/relationships/slideLayout" Target="../slideLayouts/slideLayout136.xml"/><Relationship Id="rId65" Type="http://schemas.openxmlformats.org/officeDocument/2006/relationships/slideLayout" Target="../slideLayouts/slideLayout141.xml"/><Relationship Id="rId73" Type="http://schemas.openxmlformats.org/officeDocument/2006/relationships/slideLayout" Target="../slideLayouts/slideLayout149.xml"/><Relationship Id="rId78" Type="http://schemas.openxmlformats.org/officeDocument/2006/relationships/tags" Target="../tags/tag1.xml"/><Relationship Id="rId81" Type="http://schemas.openxmlformats.org/officeDocument/2006/relationships/image" Target="../media/image21.emf"/><Relationship Id="rId4" Type="http://schemas.openxmlformats.org/officeDocument/2006/relationships/slideLayout" Target="../slideLayouts/slideLayout80.xml"/><Relationship Id="rId9" Type="http://schemas.openxmlformats.org/officeDocument/2006/relationships/slideLayout" Target="../slideLayouts/slideLayout85.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39" Type="http://schemas.openxmlformats.org/officeDocument/2006/relationships/slideLayout" Target="../slideLayouts/slideLayout115.xml"/><Relationship Id="rId34" Type="http://schemas.openxmlformats.org/officeDocument/2006/relationships/slideLayout" Target="../slideLayouts/slideLayout110.xml"/><Relationship Id="rId50" Type="http://schemas.openxmlformats.org/officeDocument/2006/relationships/slideLayout" Target="../slideLayouts/slideLayout126.xml"/><Relationship Id="rId55" Type="http://schemas.openxmlformats.org/officeDocument/2006/relationships/slideLayout" Target="../slideLayouts/slideLayout131.xml"/><Relationship Id="rId76" Type="http://schemas.openxmlformats.org/officeDocument/2006/relationships/theme" Target="../theme/theme6.xml"/><Relationship Id="rId7" Type="http://schemas.openxmlformats.org/officeDocument/2006/relationships/slideLayout" Target="../slideLayouts/slideLayout83.xml"/><Relationship Id="rId71" Type="http://schemas.openxmlformats.org/officeDocument/2006/relationships/slideLayout" Target="../slideLayouts/slideLayout147.xml"/><Relationship Id="rId2" Type="http://schemas.openxmlformats.org/officeDocument/2006/relationships/slideLayout" Target="../slideLayouts/slideLayout78.xml"/><Relationship Id="rId29" Type="http://schemas.openxmlformats.org/officeDocument/2006/relationships/slideLayout" Target="../slideLayouts/slideLayout105.xml"/><Relationship Id="rId24" Type="http://schemas.openxmlformats.org/officeDocument/2006/relationships/slideLayout" Target="../slideLayouts/slideLayout100.xml"/><Relationship Id="rId40" Type="http://schemas.openxmlformats.org/officeDocument/2006/relationships/slideLayout" Target="../slideLayouts/slideLayout116.xml"/><Relationship Id="rId45" Type="http://schemas.openxmlformats.org/officeDocument/2006/relationships/slideLayout" Target="../slideLayouts/slideLayout121.xml"/><Relationship Id="rId66" Type="http://schemas.openxmlformats.org/officeDocument/2006/relationships/slideLayout" Target="../slideLayouts/slideLayout142.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16" Type="http://schemas.openxmlformats.org/officeDocument/2006/relationships/slideLayout" Target="../slideLayouts/slideLayout167.xml"/><Relationship Id="rId11" Type="http://schemas.openxmlformats.org/officeDocument/2006/relationships/slideLayout" Target="../slideLayouts/slideLayout162.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74" Type="http://schemas.openxmlformats.org/officeDocument/2006/relationships/slideLayout" Target="../slideLayouts/slideLayout225.xml"/><Relationship Id="rId79" Type="http://schemas.openxmlformats.org/officeDocument/2006/relationships/tags" Target="../tags/tag122.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77" Type="http://schemas.openxmlformats.org/officeDocument/2006/relationships/vmlDrawing" Target="../drawings/vmlDrawing77.vml"/><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80" Type="http://schemas.openxmlformats.org/officeDocument/2006/relationships/oleObject" Target="../embeddings/oleObject1.bin"/><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slideLayout" Target="../slideLayouts/slideLayout226.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tags" Target="../tags/tag121.xml"/><Relationship Id="rId81" Type="http://schemas.openxmlformats.org/officeDocument/2006/relationships/image" Target="../media/image21.emf"/><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 Id="rId34" Type="http://schemas.openxmlformats.org/officeDocument/2006/relationships/slideLayout" Target="../slideLayouts/slideLayout185.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76" Type="http://schemas.openxmlformats.org/officeDocument/2006/relationships/theme" Target="../theme/theme7.xml"/><Relationship Id="rId7" Type="http://schemas.openxmlformats.org/officeDocument/2006/relationships/slideLayout" Target="../slideLayouts/slideLayout158.xml"/><Relationship Id="rId71" Type="http://schemas.openxmlformats.org/officeDocument/2006/relationships/slideLayout" Target="../slideLayouts/slideLayout222.xml"/><Relationship Id="rId2" Type="http://schemas.openxmlformats.org/officeDocument/2006/relationships/slideLayout" Target="../slideLayouts/slideLayout153.xml"/><Relationship Id="rId29" Type="http://schemas.openxmlformats.org/officeDocument/2006/relationships/slideLayout" Target="../slideLayouts/slideLayout180.xml"/><Relationship Id="rId24" Type="http://schemas.openxmlformats.org/officeDocument/2006/relationships/slideLayout" Target="../slideLayouts/slideLayout175.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66" Type="http://schemas.openxmlformats.org/officeDocument/2006/relationships/slideLayout" Target="../slideLayouts/slideLayout217.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52.xml"/><Relationship Id="rId21" Type="http://schemas.openxmlformats.org/officeDocument/2006/relationships/slideLayout" Target="../slideLayouts/slideLayout247.xml"/><Relationship Id="rId42" Type="http://schemas.openxmlformats.org/officeDocument/2006/relationships/slideLayout" Target="../slideLayouts/slideLayout268.xml"/><Relationship Id="rId47" Type="http://schemas.openxmlformats.org/officeDocument/2006/relationships/slideLayout" Target="../slideLayouts/slideLayout273.xml"/><Relationship Id="rId63" Type="http://schemas.openxmlformats.org/officeDocument/2006/relationships/slideLayout" Target="../slideLayouts/slideLayout289.xml"/><Relationship Id="rId68" Type="http://schemas.openxmlformats.org/officeDocument/2006/relationships/slideLayout" Target="../slideLayouts/slideLayout294.xml"/><Relationship Id="rId16" Type="http://schemas.openxmlformats.org/officeDocument/2006/relationships/slideLayout" Target="../slideLayouts/slideLayout242.xml"/><Relationship Id="rId11" Type="http://schemas.openxmlformats.org/officeDocument/2006/relationships/slideLayout" Target="../slideLayouts/slideLayout237.xml"/><Relationship Id="rId32" Type="http://schemas.openxmlformats.org/officeDocument/2006/relationships/slideLayout" Target="../slideLayouts/slideLayout258.xml"/><Relationship Id="rId37" Type="http://schemas.openxmlformats.org/officeDocument/2006/relationships/slideLayout" Target="../slideLayouts/slideLayout263.xml"/><Relationship Id="rId53" Type="http://schemas.openxmlformats.org/officeDocument/2006/relationships/slideLayout" Target="../slideLayouts/slideLayout279.xml"/><Relationship Id="rId58" Type="http://schemas.openxmlformats.org/officeDocument/2006/relationships/slideLayout" Target="../slideLayouts/slideLayout284.xml"/><Relationship Id="rId74" Type="http://schemas.openxmlformats.org/officeDocument/2006/relationships/slideLayout" Target="../slideLayouts/slideLayout300.xml"/><Relationship Id="rId79" Type="http://schemas.openxmlformats.org/officeDocument/2006/relationships/tags" Target="../tags/tag242.xml"/><Relationship Id="rId5" Type="http://schemas.openxmlformats.org/officeDocument/2006/relationships/slideLayout" Target="../slideLayouts/slideLayout231.xml"/><Relationship Id="rId61" Type="http://schemas.openxmlformats.org/officeDocument/2006/relationships/slideLayout" Target="../slideLayouts/slideLayout287.xml"/><Relationship Id="rId19" Type="http://schemas.openxmlformats.org/officeDocument/2006/relationships/slideLayout" Target="../slideLayouts/slideLayout24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35" Type="http://schemas.openxmlformats.org/officeDocument/2006/relationships/slideLayout" Target="../slideLayouts/slideLayout261.xml"/><Relationship Id="rId43" Type="http://schemas.openxmlformats.org/officeDocument/2006/relationships/slideLayout" Target="../slideLayouts/slideLayout269.xml"/><Relationship Id="rId48" Type="http://schemas.openxmlformats.org/officeDocument/2006/relationships/slideLayout" Target="../slideLayouts/slideLayout274.xml"/><Relationship Id="rId56" Type="http://schemas.openxmlformats.org/officeDocument/2006/relationships/slideLayout" Target="../slideLayouts/slideLayout282.xml"/><Relationship Id="rId64" Type="http://schemas.openxmlformats.org/officeDocument/2006/relationships/slideLayout" Target="../slideLayouts/slideLayout290.xml"/><Relationship Id="rId69" Type="http://schemas.openxmlformats.org/officeDocument/2006/relationships/slideLayout" Target="../slideLayouts/slideLayout295.xml"/><Relationship Id="rId77" Type="http://schemas.openxmlformats.org/officeDocument/2006/relationships/vmlDrawing" Target="../drawings/vmlDrawing153.vml"/><Relationship Id="rId8" Type="http://schemas.openxmlformats.org/officeDocument/2006/relationships/slideLayout" Target="../slideLayouts/slideLayout234.xml"/><Relationship Id="rId51" Type="http://schemas.openxmlformats.org/officeDocument/2006/relationships/slideLayout" Target="../slideLayouts/slideLayout277.xml"/><Relationship Id="rId72" Type="http://schemas.openxmlformats.org/officeDocument/2006/relationships/slideLayout" Target="../slideLayouts/slideLayout298.xml"/><Relationship Id="rId80" Type="http://schemas.openxmlformats.org/officeDocument/2006/relationships/oleObject" Target="../embeddings/oleObject1.bin"/><Relationship Id="rId3" Type="http://schemas.openxmlformats.org/officeDocument/2006/relationships/slideLayout" Target="../slideLayouts/slideLayout229.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slideLayout" Target="../slideLayouts/slideLayout259.xml"/><Relationship Id="rId38" Type="http://schemas.openxmlformats.org/officeDocument/2006/relationships/slideLayout" Target="../slideLayouts/slideLayout264.xml"/><Relationship Id="rId46" Type="http://schemas.openxmlformats.org/officeDocument/2006/relationships/slideLayout" Target="../slideLayouts/slideLayout272.xml"/><Relationship Id="rId59" Type="http://schemas.openxmlformats.org/officeDocument/2006/relationships/slideLayout" Target="../slideLayouts/slideLayout285.xml"/><Relationship Id="rId67" Type="http://schemas.openxmlformats.org/officeDocument/2006/relationships/slideLayout" Target="../slideLayouts/slideLayout293.xml"/><Relationship Id="rId20" Type="http://schemas.openxmlformats.org/officeDocument/2006/relationships/slideLayout" Target="../slideLayouts/slideLayout246.xml"/><Relationship Id="rId41" Type="http://schemas.openxmlformats.org/officeDocument/2006/relationships/slideLayout" Target="../slideLayouts/slideLayout267.xml"/><Relationship Id="rId54" Type="http://schemas.openxmlformats.org/officeDocument/2006/relationships/slideLayout" Target="../slideLayouts/slideLayout280.xml"/><Relationship Id="rId62" Type="http://schemas.openxmlformats.org/officeDocument/2006/relationships/slideLayout" Target="../slideLayouts/slideLayout288.xml"/><Relationship Id="rId70" Type="http://schemas.openxmlformats.org/officeDocument/2006/relationships/slideLayout" Target="../slideLayouts/slideLayout296.xml"/><Relationship Id="rId75" Type="http://schemas.openxmlformats.org/officeDocument/2006/relationships/slideLayout" Target="../slideLayouts/slideLayout301.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36" Type="http://schemas.openxmlformats.org/officeDocument/2006/relationships/slideLayout" Target="../slideLayouts/slideLayout262.xml"/><Relationship Id="rId49" Type="http://schemas.openxmlformats.org/officeDocument/2006/relationships/slideLayout" Target="../slideLayouts/slideLayout275.xml"/><Relationship Id="rId57" Type="http://schemas.openxmlformats.org/officeDocument/2006/relationships/slideLayout" Target="../slideLayouts/slideLayout283.xml"/><Relationship Id="rId10" Type="http://schemas.openxmlformats.org/officeDocument/2006/relationships/slideLayout" Target="../slideLayouts/slideLayout236.xml"/><Relationship Id="rId31" Type="http://schemas.openxmlformats.org/officeDocument/2006/relationships/slideLayout" Target="../slideLayouts/slideLayout257.xml"/><Relationship Id="rId44" Type="http://schemas.openxmlformats.org/officeDocument/2006/relationships/slideLayout" Target="../slideLayouts/slideLayout270.xml"/><Relationship Id="rId52" Type="http://schemas.openxmlformats.org/officeDocument/2006/relationships/slideLayout" Target="../slideLayouts/slideLayout278.xml"/><Relationship Id="rId60" Type="http://schemas.openxmlformats.org/officeDocument/2006/relationships/slideLayout" Target="../slideLayouts/slideLayout286.xml"/><Relationship Id="rId65" Type="http://schemas.openxmlformats.org/officeDocument/2006/relationships/slideLayout" Target="../slideLayouts/slideLayout291.xml"/><Relationship Id="rId73" Type="http://schemas.openxmlformats.org/officeDocument/2006/relationships/slideLayout" Target="../slideLayouts/slideLayout299.xml"/><Relationship Id="rId78" Type="http://schemas.openxmlformats.org/officeDocument/2006/relationships/tags" Target="../tags/tag241.xml"/><Relationship Id="rId81" Type="http://schemas.openxmlformats.org/officeDocument/2006/relationships/image" Target="../media/image21.emf"/><Relationship Id="rId4" Type="http://schemas.openxmlformats.org/officeDocument/2006/relationships/slideLayout" Target="../slideLayouts/slideLayout230.xml"/><Relationship Id="rId9" Type="http://schemas.openxmlformats.org/officeDocument/2006/relationships/slideLayout" Target="../slideLayouts/slideLayout235.xml"/><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39" Type="http://schemas.openxmlformats.org/officeDocument/2006/relationships/slideLayout" Target="../slideLayouts/slideLayout265.xml"/><Relationship Id="rId34" Type="http://schemas.openxmlformats.org/officeDocument/2006/relationships/slideLayout" Target="../slideLayouts/slideLayout260.xml"/><Relationship Id="rId50" Type="http://schemas.openxmlformats.org/officeDocument/2006/relationships/slideLayout" Target="../slideLayouts/slideLayout276.xml"/><Relationship Id="rId55" Type="http://schemas.openxmlformats.org/officeDocument/2006/relationships/slideLayout" Target="../slideLayouts/slideLayout281.xml"/><Relationship Id="rId76" Type="http://schemas.openxmlformats.org/officeDocument/2006/relationships/theme" Target="../theme/theme8.xml"/><Relationship Id="rId7" Type="http://schemas.openxmlformats.org/officeDocument/2006/relationships/slideLayout" Target="../slideLayouts/slideLayout233.xml"/><Relationship Id="rId71" Type="http://schemas.openxmlformats.org/officeDocument/2006/relationships/slideLayout" Target="../slideLayouts/slideLayout297.xml"/><Relationship Id="rId2" Type="http://schemas.openxmlformats.org/officeDocument/2006/relationships/slideLayout" Target="../slideLayouts/slideLayout228.xml"/><Relationship Id="rId29" Type="http://schemas.openxmlformats.org/officeDocument/2006/relationships/slideLayout" Target="../slideLayouts/slideLayout255.xml"/><Relationship Id="rId24" Type="http://schemas.openxmlformats.org/officeDocument/2006/relationships/slideLayout" Target="../slideLayouts/slideLayout250.xml"/><Relationship Id="rId40" Type="http://schemas.openxmlformats.org/officeDocument/2006/relationships/slideLayout" Target="../slideLayouts/slideLayout266.xml"/><Relationship Id="rId45" Type="http://schemas.openxmlformats.org/officeDocument/2006/relationships/slideLayout" Target="../slideLayouts/slideLayout271.xml"/><Relationship Id="rId66" Type="http://schemas.openxmlformats.org/officeDocument/2006/relationships/slideLayout" Target="../slideLayouts/slideLayout292.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27.xml"/><Relationship Id="rId21" Type="http://schemas.openxmlformats.org/officeDocument/2006/relationships/slideLayout" Target="../slideLayouts/slideLayout322.xml"/><Relationship Id="rId42" Type="http://schemas.openxmlformats.org/officeDocument/2006/relationships/slideLayout" Target="../slideLayouts/slideLayout343.xml"/><Relationship Id="rId47" Type="http://schemas.openxmlformats.org/officeDocument/2006/relationships/slideLayout" Target="../slideLayouts/slideLayout348.xml"/><Relationship Id="rId63" Type="http://schemas.openxmlformats.org/officeDocument/2006/relationships/slideLayout" Target="../slideLayouts/slideLayout364.xml"/><Relationship Id="rId68" Type="http://schemas.openxmlformats.org/officeDocument/2006/relationships/slideLayout" Target="../slideLayouts/slideLayout369.xml"/><Relationship Id="rId16" Type="http://schemas.openxmlformats.org/officeDocument/2006/relationships/slideLayout" Target="../slideLayouts/slideLayout317.xml"/><Relationship Id="rId11" Type="http://schemas.openxmlformats.org/officeDocument/2006/relationships/slideLayout" Target="../slideLayouts/slideLayout312.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53" Type="http://schemas.openxmlformats.org/officeDocument/2006/relationships/slideLayout" Target="../slideLayouts/slideLayout354.xml"/><Relationship Id="rId58" Type="http://schemas.openxmlformats.org/officeDocument/2006/relationships/slideLayout" Target="../slideLayouts/slideLayout359.xml"/><Relationship Id="rId74" Type="http://schemas.openxmlformats.org/officeDocument/2006/relationships/slideLayout" Target="../slideLayouts/slideLayout375.xml"/><Relationship Id="rId79" Type="http://schemas.openxmlformats.org/officeDocument/2006/relationships/tags" Target="../tags/tag362.xml"/><Relationship Id="rId5" Type="http://schemas.openxmlformats.org/officeDocument/2006/relationships/slideLayout" Target="../slideLayouts/slideLayout306.xml"/><Relationship Id="rId61" Type="http://schemas.openxmlformats.org/officeDocument/2006/relationships/slideLayout" Target="../slideLayouts/slideLayout362.xml"/><Relationship Id="rId19" Type="http://schemas.openxmlformats.org/officeDocument/2006/relationships/slideLayout" Target="../slideLayouts/slideLayout32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43" Type="http://schemas.openxmlformats.org/officeDocument/2006/relationships/slideLayout" Target="../slideLayouts/slideLayout344.xml"/><Relationship Id="rId48" Type="http://schemas.openxmlformats.org/officeDocument/2006/relationships/slideLayout" Target="../slideLayouts/slideLayout349.xml"/><Relationship Id="rId56" Type="http://schemas.openxmlformats.org/officeDocument/2006/relationships/slideLayout" Target="../slideLayouts/slideLayout357.xml"/><Relationship Id="rId64" Type="http://schemas.openxmlformats.org/officeDocument/2006/relationships/slideLayout" Target="../slideLayouts/slideLayout365.xml"/><Relationship Id="rId69" Type="http://schemas.openxmlformats.org/officeDocument/2006/relationships/slideLayout" Target="../slideLayouts/slideLayout370.xml"/><Relationship Id="rId77" Type="http://schemas.openxmlformats.org/officeDocument/2006/relationships/vmlDrawing" Target="../drawings/vmlDrawing229.vml"/><Relationship Id="rId8" Type="http://schemas.openxmlformats.org/officeDocument/2006/relationships/slideLayout" Target="../slideLayouts/slideLayout309.xml"/><Relationship Id="rId51" Type="http://schemas.openxmlformats.org/officeDocument/2006/relationships/slideLayout" Target="../slideLayouts/slideLayout352.xml"/><Relationship Id="rId72" Type="http://schemas.openxmlformats.org/officeDocument/2006/relationships/slideLayout" Target="../slideLayouts/slideLayout373.xml"/><Relationship Id="rId80" Type="http://schemas.openxmlformats.org/officeDocument/2006/relationships/oleObject" Target="../embeddings/oleObject1.bin"/><Relationship Id="rId3" Type="http://schemas.openxmlformats.org/officeDocument/2006/relationships/slideLayout" Target="../slideLayouts/slideLayout304.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slideLayout" Target="../slideLayouts/slideLayout334.xml"/><Relationship Id="rId38" Type="http://schemas.openxmlformats.org/officeDocument/2006/relationships/slideLayout" Target="../slideLayouts/slideLayout339.xml"/><Relationship Id="rId46" Type="http://schemas.openxmlformats.org/officeDocument/2006/relationships/slideLayout" Target="../slideLayouts/slideLayout347.xml"/><Relationship Id="rId59" Type="http://schemas.openxmlformats.org/officeDocument/2006/relationships/slideLayout" Target="../slideLayouts/slideLayout360.xml"/><Relationship Id="rId67" Type="http://schemas.openxmlformats.org/officeDocument/2006/relationships/slideLayout" Target="../slideLayouts/slideLayout368.xml"/><Relationship Id="rId20" Type="http://schemas.openxmlformats.org/officeDocument/2006/relationships/slideLayout" Target="../slideLayouts/slideLayout321.xml"/><Relationship Id="rId41" Type="http://schemas.openxmlformats.org/officeDocument/2006/relationships/slideLayout" Target="../slideLayouts/slideLayout342.xml"/><Relationship Id="rId54" Type="http://schemas.openxmlformats.org/officeDocument/2006/relationships/slideLayout" Target="../slideLayouts/slideLayout355.xml"/><Relationship Id="rId62" Type="http://schemas.openxmlformats.org/officeDocument/2006/relationships/slideLayout" Target="../slideLayouts/slideLayout363.xml"/><Relationship Id="rId70" Type="http://schemas.openxmlformats.org/officeDocument/2006/relationships/slideLayout" Target="../slideLayouts/slideLayout371.xml"/><Relationship Id="rId75" Type="http://schemas.openxmlformats.org/officeDocument/2006/relationships/slideLayout" Target="../slideLayouts/slideLayout376.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49" Type="http://schemas.openxmlformats.org/officeDocument/2006/relationships/slideLayout" Target="../slideLayouts/slideLayout350.xml"/><Relationship Id="rId57" Type="http://schemas.openxmlformats.org/officeDocument/2006/relationships/slideLayout" Target="../slideLayouts/slideLayout358.xml"/><Relationship Id="rId10" Type="http://schemas.openxmlformats.org/officeDocument/2006/relationships/slideLayout" Target="../slideLayouts/slideLayout311.xml"/><Relationship Id="rId31" Type="http://schemas.openxmlformats.org/officeDocument/2006/relationships/slideLayout" Target="../slideLayouts/slideLayout332.xml"/><Relationship Id="rId44" Type="http://schemas.openxmlformats.org/officeDocument/2006/relationships/slideLayout" Target="../slideLayouts/slideLayout345.xml"/><Relationship Id="rId52" Type="http://schemas.openxmlformats.org/officeDocument/2006/relationships/slideLayout" Target="../slideLayouts/slideLayout353.xml"/><Relationship Id="rId60" Type="http://schemas.openxmlformats.org/officeDocument/2006/relationships/slideLayout" Target="../slideLayouts/slideLayout361.xml"/><Relationship Id="rId65" Type="http://schemas.openxmlformats.org/officeDocument/2006/relationships/slideLayout" Target="../slideLayouts/slideLayout366.xml"/><Relationship Id="rId73" Type="http://schemas.openxmlformats.org/officeDocument/2006/relationships/slideLayout" Target="../slideLayouts/slideLayout374.xml"/><Relationship Id="rId78" Type="http://schemas.openxmlformats.org/officeDocument/2006/relationships/tags" Target="../tags/tag361.xml"/><Relationship Id="rId81" Type="http://schemas.openxmlformats.org/officeDocument/2006/relationships/image" Target="../media/image21.emf"/><Relationship Id="rId4" Type="http://schemas.openxmlformats.org/officeDocument/2006/relationships/slideLayout" Target="../slideLayouts/slideLayout305.xml"/><Relationship Id="rId9" Type="http://schemas.openxmlformats.org/officeDocument/2006/relationships/slideLayout" Target="../slideLayouts/slideLayout310.xml"/><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39" Type="http://schemas.openxmlformats.org/officeDocument/2006/relationships/slideLayout" Target="../slideLayouts/slideLayout340.xml"/><Relationship Id="rId34" Type="http://schemas.openxmlformats.org/officeDocument/2006/relationships/slideLayout" Target="../slideLayouts/slideLayout335.xml"/><Relationship Id="rId50" Type="http://schemas.openxmlformats.org/officeDocument/2006/relationships/slideLayout" Target="../slideLayouts/slideLayout351.xml"/><Relationship Id="rId55" Type="http://schemas.openxmlformats.org/officeDocument/2006/relationships/slideLayout" Target="../slideLayouts/slideLayout356.xml"/><Relationship Id="rId76" Type="http://schemas.openxmlformats.org/officeDocument/2006/relationships/theme" Target="../theme/theme9.xml"/><Relationship Id="rId7" Type="http://schemas.openxmlformats.org/officeDocument/2006/relationships/slideLayout" Target="../slideLayouts/slideLayout308.xml"/><Relationship Id="rId71" Type="http://schemas.openxmlformats.org/officeDocument/2006/relationships/slideLayout" Target="../slideLayouts/slideLayout372.xml"/><Relationship Id="rId2" Type="http://schemas.openxmlformats.org/officeDocument/2006/relationships/slideLayout" Target="../slideLayouts/slideLayout303.xml"/><Relationship Id="rId29" Type="http://schemas.openxmlformats.org/officeDocument/2006/relationships/slideLayout" Target="../slideLayouts/slideLayout330.xml"/><Relationship Id="rId24" Type="http://schemas.openxmlformats.org/officeDocument/2006/relationships/slideLayout" Target="../slideLayouts/slideLayout325.xml"/><Relationship Id="rId40" Type="http://schemas.openxmlformats.org/officeDocument/2006/relationships/slideLayout" Target="../slideLayouts/slideLayout341.xml"/><Relationship Id="rId45" Type="http://schemas.openxmlformats.org/officeDocument/2006/relationships/slideLayout" Target="../slideLayouts/slideLayout346.xml"/><Relationship Id="rId66" Type="http://schemas.openxmlformats.org/officeDocument/2006/relationships/slideLayout" Target="../slideLayouts/slideLayout3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1799" y="933040"/>
            <a:ext cx="3054201" cy="4991921"/>
          </a:xfrm>
          <a:prstGeom prst="rect">
            <a:avLst/>
          </a:prstGeom>
          <a:noFill/>
          <a:ln>
            <a:noFill/>
          </a:ln>
        </p:spPr>
      </p:pic>
      <p:sp>
        <p:nvSpPr>
          <p:cNvPr id="3" name="Rectangle 2"/>
          <p:cNvSpPr/>
          <p:nvPr userDrawn="1"/>
        </p:nvSpPr>
        <p:spPr>
          <a:xfrm>
            <a:off x="203200" y="1193800"/>
            <a:ext cx="11988800" cy="47752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 Placeholder 20"/>
          <p:cNvSpPr>
            <a:spLocks noGrp="1"/>
          </p:cNvSpPr>
          <p:nvPr>
            <p:ph type="body" idx="1"/>
          </p:nvPr>
        </p:nvSpPr>
        <p:spPr>
          <a:xfrm>
            <a:off x="370170" y="1193800"/>
            <a:ext cx="11618641" cy="508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50800" y="0"/>
            <a:ext cx="12293600" cy="1193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7680" rIns="0" bIns="0" rtlCol="0" anchor="ctr">
            <a:normAutofit/>
          </a:bodyPr>
          <a:lstStyle/>
          <a:p>
            <a:pPr algn="ctr"/>
            <a:endParaRPr lang="en-US" sz="3200" dirty="0">
              <a:solidFill>
                <a:srgbClr val="FFFFFF"/>
              </a:solidFill>
              <a:latin typeface="Arial"/>
            </a:endParaRPr>
          </a:p>
        </p:txBody>
      </p:sp>
      <p:sp>
        <p:nvSpPr>
          <p:cNvPr id="8" name="Rectangle 7"/>
          <p:cNvSpPr/>
          <p:nvPr/>
        </p:nvSpPr>
        <p:spPr>
          <a:xfrm>
            <a:off x="0" y="6273800"/>
            <a:ext cx="12192000" cy="5842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 name="Title Placeholder 1"/>
          <p:cNvSpPr>
            <a:spLocks noGrp="1"/>
          </p:cNvSpPr>
          <p:nvPr>
            <p:ph type="title"/>
          </p:nvPr>
        </p:nvSpPr>
        <p:spPr>
          <a:xfrm>
            <a:off x="304801" y="1"/>
            <a:ext cx="11684000" cy="119856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881556568"/>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56" r:id="rId16"/>
    <p:sldLayoutId id="2147483757" r:id="rId17"/>
    <p:sldLayoutId id="2147483759" r:id="rId18"/>
  </p:sldLayoutIdLst>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txStyles>
    <p:titleStyle>
      <a:lvl1pPr algn="l" defTabSz="1219170" rtl="0" eaLnBrk="1" latinLnBrk="0" hangingPunct="1">
        <a:spcBef>
          <a:spcPct val="0"/>
        </a:spcBef>
        <a:buNone/>
        <a:defRPr sz="4267" kern="1200">
          <a:solidFill>
            <a:schemeClr val="bg1"/>
          </a:solidFill>
          <a:latin typeface="+mj-lt"/>
          <a:ea typeface="+mj-ea"/>
          <a:cs typeface="+mj-cs"/>
        </a:defRPr>
      </a:lvl1pPr>
    </p:titleStyle>
    <p:bodyStyle>
      <a:lvl1pPr marL="243834" indent="-243834" algn="l" defTabSz="1219170" rtl="0" eaLnBrk="1" latinLnBrk="0" hangingPunct="1">
        <a:spcBef>
          <a:spcPct val="20000"/>
        </a:spcBef>
        <a:buClr>
          <a:schemeClr val="bg2"/>
        </a:buClr>
        <a:buSzPct val="120000"/>
        <a:buFont typeface="Arial" panose="020B0604020202020204" pitchFamily="34" charset="0"/>
        <a:buChar char="•"/>
        <a:defRPr sz="3200" kern="1200">
          <a:solidFill>
            <a:schemeClr val="tx1"/>
          </a:solidFill>
          <a:latin typeface="+mn-lt"/>
          <a:ea typeface="+mn-ea"/>
          <a:cs typeface="+mn-cs"/>
        </a:defRPr>
      </a:lvl1pPr>
      <a:lvl2pPr marL="990575" indent="-380990" algn="l" defTabSz="1219170" rtl="0" eaLnBrk="1" latinLnBrk="0" hangingPunct="1">
        <a:spcBef>
          <a:spcPct val="20000"/>
        </a:spcBef>
        <a:buClr>
          <a:schemeClr val="tx2">
            <a:lumMod val="50000"/>
            <a:lumOff val="50000"/>
          </a:schemeClr>
        </a:buClr>
        <a:buSzPct val="110000"/>
        <a:buFont typeface="Arial" panose="020B0604020202020204" pitchFamily="34" charset="0"/>
        <a:buChar char="•"/>
        <a:defRPr sz="2667" kern="1200">
          <a:solidFill>
            <a:schemeClr val="tx1"/>
          </a:solidFill>
          <a:latin typeface="+mn-lt"/>
          <a:ea typeface="+mn-ea"/>
          <a:cs typeface="+mn-cs"/>
        </a:defRPr>
      </a:lvl2pPr>
      <a:lvl3pPr marL="1600160" indent="-380990" algn="l" defTabSz="121917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2133547" indent="-304792" algn="l" defTabSz="1219170" rtl="0" eaLnBrk="1" latinLnBrk="0" hangingPunct="1">
        <a:spcBef>
          <a:spcPct val="20000"/>
        </a:spcBef>
        <a:buClr>
          <a:schemeClr val="accent3"/>
        </a:buClr>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spcBef>
          <a:spcPct val="20000"/>
        </a:spcBef>
        <a:buClr>
          <a:schemeClr val="accent5">
            <a:lumMod val="75000"/>
          </a:schemeClr>
        </a:buClr>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25374" y="117565"/>
            <a:ext cx="11483447" cy="8108510"/>
          </a:xfrm>
          <a:prstGeom prst="rect">
            <a:avLst/>
          </a:prstGeom>
        </p:spPr>
      </p:pic>
    </p:spTree>
    <p:extLst>
      <p:ext uri="{BB962C8B-B14F-4D97-AF65-F5344CB8AC3E}">
        <p14:creationId xmlns:p14="http://schemas.microsoft.com/office/powerpoint/2010/main" val="851853728"/>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0" r:id="rId7"/>
    <p:sldLayoutId id="2147483831" r:id="rId8"/>
    <p:sldLayoutId id="2147483832" r:id="rId9"/>
    <p:sldLayoutId id="2147483833" r:id="rId10"/>
    <p:sldLayoutId id="21474838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 y="1715"/>
            <a:ext cx="12191999" cy="6854572"/>
          </a:xfrm>
          <a:prstGeom prst="rect">
            <a:avLst/>
          </a:prstGeom>
        </p:spPr>
      </p:pic>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9/29/2021</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16235683"/>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 id="2147484123" r:id="rId12"/>
    <p:sldLayoutId id="2147484124" r:id="rId13"/>
    <p:sldLayoutId id="2147484125" r:id="rId14"/>
  </p:sldLayoutIdLst>
  <p:txStyles>
    <p:titleStyle>
      <a:lvl1pPr algn="l" defTabSz="914377"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4" indent="-228594" algn="l" defTabSz="914377"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71" indent="-228594" algn="l" defTabSz="914377"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349" indent="-228594" algn="l" defTabSz="914377"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3" y="1715"/>
            <a:ext cx="12191999" cy="6854572"/>
          </a:xfrm>
          <a:prstGeom prst="rect">
            <a:avLst/>
          </a:prstGeom>
        </p:spPr>
      </p:pic>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9/29/2021</a:t>
            </a:fld>
            <a:endParaRPr lang="en-US"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38648240"/>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Lst>
  <p:txStyles>
    <p:titleStyle>
      <a:lvl1pPr algn="l" defTabSz="914354"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89" indent="-228589" algn="l" defTabSz="914354"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66" indent="-228589" algn="l" defTabSz="914354"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42" indent="-228589" algn="l" defTabSz="914354"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20" indent="-228589" algn="l" defTabSz="914354"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298" indent="-228589" algn="l" defTabSz="914354"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01801" y="933041"/>
            <a:ext cx="3054201" cy="4991921"/>
          </a:xfrm>
          <a:prstGeom prst="rect">
            <a:avLst/>
          </a:prstGeom>
          <a:noFill/>
          <a:ln>
            <a:noFill/>
          </a:ln>
        </p:spPr>
      </p:pic>
      <p:sp>
        <p:nvSpPr>
          <p:cNvPr id="3" name="Rectangle 2"/>
          <p:cNvSpPr/>
          <p:nvPr userDrawn="1"/>
        </p:nvSpPr>
        <p:spPr>
          <a:xfrm>
            <a:off x="203200" y="1193800"/>
            <a:ext cx="11988800" cy="4775200"/>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solidFill>
                <a:srgbClr val="FFFFFF"/>
              </a:solidFill>
              <a:latin typeface="Arial"/>
            </a:endParaRPr>
          </a:p>
        </p:txBody>
      </p:sp>
      <p:sp>
        <p:nvSpPr>
          <p:cNvPr id="21" name="Text Placeholder 20"/>
          <p:cNvSpPr>
            <a:spLocks noGrp="1"/>
          </p:cNvSpPr>
          <p:nvPr>
            <p:ph type="body" idx="1"/>
          </p:nvPr>
        </p:nvSpPr>
        <p:spPr>
          <a:xfrm>
            <a:off x="370172" y="1193800"/>
            <a:ext cx="11618641" cy="5080000"/>
          </a:xfrm>
          <a:prstGeom prst="rect">
            <a:avLst/>
          </a:prstGeom>
          <a:noFill/>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50800" y="0"/>
            <a:ext cx="12293600" cy="1193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87680" rIns="0" bIns="0" rtlCol="0" anchor="ctr">
            <a:normAutofit/>
          </a:bodyPr>
          <a:lstStyle/>
          <a:p>
            <a:pPr algn="ctr"/>
            <a:endParaRPr lang="en-US" sz="3200" dirty="0">
              <a:solidFill>
                <a:srgbClr val="FFFFFF"/>
              </a:solidFill>
              <a:latin typeface="Arial"/>
            </a:endParaRPr>
          </a:p>
        </p:txBody>
      </p:sp>
      <p:sp>
        <p:nvSpPr>
          <p:cNvPr id="8" name="Rectangle 7"/>
          <p:cNvSpPr/>
          <p:nvPr/>
        </p:nvSpPr>
        <p:spPr>
          <a:xfrm>
            <a:off x="0" y="6273800"/>
            <a:ext cx="12192000" cy="5842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3200" dirty="0">
              <a:solidFill>
                <a:srgbClr val="FFFFFF"/>
              </a:solidFill>
              <a:latin typeface="Arial"/>
            </a:endParaRP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600">
                <a:solidFill>
                  <a:schemeClr val="tx1">
                    <a:tint val="75000"/>
                  </a:schemeClr>
                </a:solidFill>
              </a:defRPr>
            </a:lvl1pPr>
          </a:lstStyle>
          <a:p>
            <a:fld id="{96F4B587-9FDF-46DF-B460-9026AE4DF246}" type="datetimeFigureOut">
              <a:rPr lang="en-US" smtClean="0">
                <a:solidFill>
                  <a:prstClr val="black">
                    <a:tint val="75000"/>
                  </a:prstClr>
                </a:solidFill>
                <a:latin typeface="Arial"/>
              </a:rPr>
              <a:pPr/>
              <a:t>9/29/2021</a:t>
            </a:fld>
            <a:endParaRPr lang="en-US" dirty="0">
              <a:solidFill>
                <a:prstClr val="black">
                  <a:tint val="75000"/>
                </a:prstClr>
              </a:solidFill>
              <a:latin typeface="Aria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dirty="0">
              <a:solidFill>
                <a:prstClr val="black">
                  <a:tint val="75000"/>
                </a:prstClr>
              </a:solidFill>
              <a:latin typeface="Aria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40" tIns="45720" rIns="91440" bIns="45720" rtlCol="0" anchor="ctr"/>
          <a:lstStyle>
            <a:lvl1pPr algn="r">
              <a:defRPr sz="1600">
                <a:solidFill>
                  <a:schemeClr val="tx1">
                    <a:tint val="75000"/>
                  </a:schemeClr>
                </a:solidFill>
              </a:defRPr>
            </a:lvl1pPr>
          </a:lstStyle>
          <a:p>
            <a:fld id="{A00A119E-7584-428E-89E9-092799AD27D7}" type="slidenum">
              <a:rPr lang="en-US" smtClean="0">
                <a:solidFill>
                  <a:prstClr val="black">
                    <a:tint val="75000"/>
                  </a:prstClr>
                </a:solidFill>
                <a:latin typeface="Arial"/>
              </a:rPr>
              <a:pPr/>
              <a:t>‹#›</a:t>
            </a:fld>
            <a:endParaRPr lang="en-US" dirty="0">
              <a:solidFill>
                <a:prstClr val="black">
                  <a:tint val="75000"/>
                </a:prstClr>
              </a:solidFill>
              <a:latin typeface="Arial"/>
            </a:endParaRPr>
          </a:p>
        </p:txBody>
      </p:sp>
      <p:sp>
        <p:nvSpPr>
          <p:cNvPr id="19" name="TextBox 18"/>
          <p:cNvSpPr txBox="1"/>
          <p:nvPr/>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sp>
        <p:nvSpPr>
          <p:cNvPr id="2" name="Title Placeholder 1"/>
          <p:cNvSpPr>
            <a:spLocks noGrp="1"/>
          </p:cNvSpPr>
          <p:nvPr>
            <p:ph type="title"/>
          </p:nvPr>
        </p:nvSpPr>
        <p:spPr>
          <a:xfrm>
            <a:off x="304801" y="2"/>
            <a:ext cx="11684000" cy="1198561"/>
          </a:xfrm>
          <a:prstGeom prst="rect">
            <a:avLst/>
          </a:prstGeom>
        </p:spPr>
        <p:txBody>
          <a:bodyPr vert="horz" wrap="none" lIns="274320" tIns="0" rIns="274320" bIns="0" rtlCol="0" anchor="ctr" anchorCtr="0">
            <a:normAutofit/>
          </a:bodyPr>
          <a:lstStyle/>
          <a:p>
            <a:r>
              <a:rPr lang="en-US"/>
              <a:t>Click to edit Master title style</a:t>
            </a:r>
            <a:endParaRPr lang="en-US" dirty="0"/>
          </a:p>
        </p:txBody>
      </p:sp>
      <p:pic>
        <p:nvPicPr>
          <p:cNvPr id="12" name="Picture 1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131162262"/>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 id="2147484155" r:id="rId13"/>
    <p:sldLayoutId id="2147484156" r:id="rId14"/>
    <p:sldLayoutId id="2147484157" r:id="rId15"/>
    <p:sldLayoutId id="2147484158" r:id="rId16"/>
    <p:sldLayoutId id="2147484159" r:id="rId17"/>
    <p:sldLayoutId id="2147484160" r:id="rId18"/>
    <p:sldLayoutId id="2147484161" r:id="rId19"/>
  </p:sldLayoutIdLst>
  <mc:AlternateContent xmlns:mc="http://schemas.openxmlformats.org/markup-compatibility/2006" xmlns:p15="http://schemas.microsoft.com/office/powerpoint/2012/main">
    <mc:Choice Requires="p15">
      <p:transition xmlns:p14="http://schemas.microsoft.com/office/powerpoint/2010/main" spd="slow" p14:dur="2000" advClick="0" advTm="5000">
        <p15:prstTrans prst="prestige"/>
      </p:transition>
    </mc:Choice>
    <mc:Fallback xmlns="">
      <p:transition spd="slow" advClick="0" advTm="5000">
        <p:fade/>
      </p:transition>
    </mc:Fallback>
  </mc:AlternateContent>
  <p:txStyles>
    <p:titleStyle>
      <a:lvl1pPr algn="l" defTabSz="1219140" rtl="0" eaLnBrk="1" latinLnBrk="0" hangingPunct="1">
        <a:spcBef>
          <a:spcPct val="0"/>
        </a:spcBef>
        <a:buNone/>
        <a:defRPr sz="4267" kern="1200">
          <a:solidFill>
            <a:schemeClr val="bg1"/>
          </a:solidFill>
          <a:latin typeface="+mj-lt"/>
          <a:ea typeface="+mj-ea"/>
          <a:cs typeface="+mj-cs"/>
        </a:defRPr>
      </a:lvl1pPr>
    </p:titleStyle>
    <p:bodyStyle>
      <a:lvl1pPr marL="243829" indent="-243829" algn="l" defTabSz="1219140" rtl="0" eaLnBrk="1" latinLnBrk="0" hangingPunct="1">
        <a:spcBef>
          <a:spcPct val="20000"/>
        </a:spcBef>
        <a:buClr>
          <a:schemeClr val="bg2"/>
        </a:buClr>
        <a:buSzPct val="120000"/>
        <a:buFont typeface="Arial" panose="020B0604020202020204" pitchFamily="34" charset="0"/>
        <a:buChar char="•"/>
        <a:defRPr sz="3200" kern="1200">
          <a:solidFill>
            <a:schemeClr val="tx1"/>
          </a:solidFill>
          <a:latin typeface="+mn-lt"/>
          <a:ea typeface="+mn-ea"/>
          <a:cs typeface="+mn-cs"/>
        </a:defRPr>
      </a:lvl1pPr>
      <a:lvl2pPr marL="990550" indent="-380981" algn="l" defTabSz="1219140" rtl="0" eaLnBrk="1" latinLnBrk="0" hangingPunct="1">
        <a:spcBef>
          <a:spcPct val="20000"/>
        </a:spcBef>
        <a:buClr>
          <a:schemeClr val="tx2">
            <a:lumMod val="50000"/>
            <a:lumOff val="50000"/>
          </a:schemeClr>
        </a:buClr>
        <a:buSzPct val="110000"/>
        <a:buFont typeface="Arial" panose="020B0604020202020204" pitchFamily="34" charset="0"/>
        <a:buChar char="•"/>
        <a:defRPr sz="2667" kern="1200">
          <a:solidFill>
            <a:schemeClr val="tx1"/>
          </a:solidFill>
          <a:latin typeface="+mn-lt"/>
          <a:ea typeface="+mn-ea"/>
          <a:cs typeface="+mn-cs"/>
        </a:defRPr>
      </a:lvl2pPr>
      <a:lvl3pPr marL="1600120" indent="-380981" algn="l" defTabSz="1219140" rtl="0" eaLnBrk="1" latinLnBrk="0" hangingPunct="1">
        <a:spcBef>
          <a:spcPct val="20000"/>
        </a:spcBef>
        <a:buClr>
          <a:schemeClr val="accent1"/>
        </a:buClr>
        <a:buFont typeface="Arial" panose="020B0604020202020204" pitchFamily="34" charset="0"/>
        <a:buChar char="•"/>
        <a:defRPr sz="2400" kern="1200">
          <a:solidFill>
            <a:schemeClr val="tx1"/>
          </a:solidFill>
          <a:latin typeface="+mn-lt"/>
          <a:ea typeface="+mn-ea"/>
          <a:cs typeface="+mn-cs"/>
        </a:defRPr>
      </a:lvl3pPr>
      <a:lvl4pPr marL="2133493" indent="-304784" algn="l" defTabSz="1219140" rtl="0" eaLnBrk="1" latinLnBrk="0" hangingPunct="1">
        <a:spcBef>
          <a:spcPct val="20000"/>
        </a:spcBef>
        <a:buClr>
          <a:schemeClr val="accent3"/>
        </a:buClr>
        <a:buFont typeface="Arial" panose="020B0604020202020204" pitchFamily="34" charset="0"/>
        <a:buChar char="•"/>
        <a:defRPr sz="2400" kern="1200">
          <a:solidFill>
            <a:schemeClr val="tx1"/>
          </a:solidFill>
          <a:latin typeface="+mn-lt"/>
          <a:ea typeface="+mn-ea"/>
          <a:cs typeface="+mn-cs"/>
        </a:defRPr>
      </a:lvl4pPr>
      <a:lvl5pPr marL="2743062" indent="-304784" algn="l" defTabSz="1219140" rtl="0" eaLnBrk="1" latinLnBrk="0" hangingPunct="1">
        <a:spcBef>
          <a:spcPct val="20000"/>
        </a:spcBef>
        <a:buClr>
          <a:schemeClr val="accent5">
            <a:lumMod val="75000"/>
          </a:schemeClr>
        </a:buClr>
        <a:buFont typeface="Arial" panose="020B0604020202020204" pitchFamily="34" charset="0"/>
        <a:buChar char="•"/>
        <a:defRPr sz="2400"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28006967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1"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918286258"/>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 id="2147484186" r:id="rId24"/>
    <p:sldLayoutId id="2147484187" r:id="rId25"/>
    <p:sldLayoutId id="2147484188" r:id="rId26"/>
    <p:sldLayoutId id="2147484189" r:id="rId27"/>
    <p:sldLayoutId id="2147484190" r:id="rId28"/>
    <p:sldLayoutId id="2147484191" r:id="rId29"/>
    <p:sldLayoutId id="2147484192" r:id="rId30"/>
    <p:sldLayoutId id="2147484193" r:id="rId31"/>
    <p:sldLayoutId id="2147484194" r:id="rId32"/>
    <p:sldLayoutId id="2147484195" r:id="rId33"/>
    <p:sldLayoutId id="2147484196" r:id="rId34"/>
    <p:sldLayoutId id="2147484197" r:id="rId35"/>
    <p:sldLayoutId id="2147484198" r:id="rId36"/>
    <p:sldLayoutId id="2147484199" r:id="rId37"/>
    <p:sldLayoutId id="2147484200" r:id="rId38"/>
    <p:sldLayoutId id="2147484201" r:id="rId39"/>
    <p:sldLayoutId id="2147484202" r:id="rId40"/>
    <p:sldLayoutId id="2147484203" r:id="rId41"/>
    <p:sldLayoutId id="2147484204" r:id="rId42"/>
    <p:sldLayoutId id="2147484205" r:id="rId43"/>
    <p:sldLayoutId id="2147484206" r:id="rId44"/>
    <p:sldLayoutId id="2147484207" r:id="rId45"/>
    <p:sldLayoutId id="2147484208" r:id="rId46"/>
    <p:sldLayoutId id="2147484209" r:id="rId47"/>
    <p:sldLayoutId id="2147484210" r:id="rId48"/>
    <p:sldLayoutId id="2147484211" r:id="rId49"/>
    <p:sldLayoutId id="2147484212" r:id="rId50"/>
    <p:sldLayoutId id="2147484213" r:id="rId51"/>
    <p:sldLayoutId id="2147484214" r:id="rId52"/>
    <p:sldLayoutId id="2147484215" r:id="rId53"/>
    <p:sldLayoutId id="2147484216" r:id="rId54"/>
    <p:sldLayoutId id="2147484217" r:id="rId55"/>
    <p:sldLayoutId id="2147484218" r:id="rId56"/>
    <p:sldLayoutId id="2147484219" r:id="rId57"/>
    <p:sldLayoutId id="2147484220" r:id="rId58"/>
    <p:sldLayoutId id="2147484221" r:id="rId59"/>
    <p:sldLayoutId id="2147484222" r:id="rId60"/>
    <p:sldLayoutId id="2147484223" r:id="rId61"/>
    <p:sldLayoutId id="2147484224" r:id="rId62"/>
    <p:sldLayoutId id="2147484225" r:id="rId63"/>
    <p:sldLayoutId id="2147484226" r:id="rId64"/>
    <p:sldLayoutId id="2147484227" r:id="rId65"/>
    <p:sldLayoutId id="2147484228" r:id="rId66"/>
    <p:sldLayoutId id="2147484229" r:id="rId67"/>
    <p:sldLayoutId id="2147484230" r:id="rId68"/>
    <p:sldLayoutId id="2147484231" r:id="rId69"/>
    <p:sldLayoutId id="2147484232" r:id="rId70"/>
    <p:sldLayoutId id="2147484233" r:id="rId71"/>
    <p:sldLayoutId id="2147484234" r:id="rId72"/>
    <p:sldLayoutId id="2147484235" r:id="rId73"/>
    <p:sldLayoutId id="2147484236" r:id="rId74"/>
    <p:sldLayoutId id="2147484237"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944475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5"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42214279"/>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 id="2147484242" r:id="rId4"/>
    <p:sldLayoutId id="2147484243" r:id="rId5"/>
    <p:sldLayoutId id="2147484244" r:id="rId6"/>
    <p:sldLayoutId id="2147484245" r:id="rId7"/>
    <p:sldLayoutId id="2147484246" r:id="rId8"/>
    <p:sldLayoutId id="2147484247" r:id="rId9"/>
    <p:sldLayoutId id="2147484248" r:id="rId10"/>
    <p:sldLayoutId id="2147484249" r:id="rId11"/>
    <p:sldLayoutId id="2147484250" r:id="rId12"/>
    <p:sldLayoutId id="2147484251" r:id="rId13"/>
    <p:sldLayoutId id="2147484252" r:id="rId14"/>
    <p:sldLayoutId id="2147484253" r:id="rId15"/>
    <p:sldLayoutId id="2147484254" r:id="rId16"/>
    <p:sldLayoutId id="2147484255" r:id="rId17"/>
    <p:sldLayoutId id="2147484256" r:id="rId18"/>
    <p:sldLayoutId id="2147484257" r:id="rId19"/>
    <p:sldLayoutId id="2147484258" r:id="rId20"/>
    <p:sldLayoutId id="2147484259" r:id="rId21"/>
    <p:sldLayoutId id="2147484260" r:id="rId22"/>
    <p:sldLayoutId id="2147484261" r:id="rId23"/>
    <p:sldLayoutId id="2147484262" r:id="rId24"/>
    <p:sldLayoutId id="2147484263" r:id="rId25"/>
    <p:sldLayoutId id="2147484264" r:id="rId26"/>
    <p:sldLayoutId id="2147484265" r:id="rId27"/>
    <p:sldLayoutId id="2147484266" r:id="rId28"/>
    <p:sldLayoutId id="2147484267" r:id="rId29"/>
    <p:sldLayoutId id="2147484268" r:id="rId30"/>
    <p:sldLayoutId id="2147484269" r:id="rId31"/>
    <p:sldLayoutId id="2147484270" r:id="rId32"/>
    <p:sldLayoutId id="2147484271" r:id="rId33"/>
    <p:sldLayoutId id="2147484272" r:id="rId34"/>
    <p:sldLayoutId id="2147484273" r:id="rId35"/>
    <p:sldLayoutId id="2147484274" r:id="rId36"/>
    <p:sldLayoutId id="2147484275" r:id="rId37"/>
    <p:sldLayoutId id="2147484276" r:id="rId38"/>
    <p:sldLayoutId id="2147484277" r:id="rId39"/>
    <p:sldLayoutId id="2147484278" r:id="rId40"/>
    <p:sldLayoutId id="2147484279" r:id="rId41"/>
    <p:sldLayoutId id="2147484280" r:id="rId42"/>
    <p:sldLayoutId id="2147484281" r:id="rId43"/>
    <p:sldLayoutId id="2147484282" r:id="rId44"/>
    <p:sldLayoutId id="2147484283" r:id="rId45"/>
    <p:sldLayoutId id="2147484284" r:id="rId46"/>
    <p:sldLayoutId id="2147484285" r:id="rId47"/>
    <p:sldLayoutId id="2147484286" r:id="rId48"/>
    <p:sldLayoutId id="2147484287" r:id="rId49"/>
    <p:sldLayoutId id="2147484288" r:id="rId50"/>
    <p:sldLayoutId id="2147484289" r:id="rId51"/>
    <p:sldLayoutId id="2147484290" r:id="rId52"/>
    <p:sldLayoutId id="2147484291" r:id="rId53"/>
    <p:sldLayoutId id="2147484292" r:id="rId54"/>
    <p:sldLayoutId id="2147484293" r:id="rId55"/>
    <p:sldLayoutId id="2147484294" r:id="rId56"/>
    <p:sldLayoutId id="2147484295" r:id="rId57"/>
    <p:sldLayoutId id="2147484296" r:id="rId58"/>
    <p:sldLayoutId id="2147484297" r:id="rId59"/>
    <p:sldLayoutId id="2147484298" r:id="rId60"/>
    <p:sldLayoutId id="2147484299" r:id="rId61"/>
    <p:sldLayoutId id="2147484300" r:id="rId62"/>
    <p:sldLayoutId id="2147484301" r:id="rId63"/>
    <p:sldLayoutId id="2147484302" r:id="rId64"/>
    <p:sldLayoutId id="2147484303" r:id="rId65"/>
    <p:sldLayoutId id="2147484304" r:id="rId66"/>
    <p:sldLayoutId id="2147484305" r:id="rId67"/>
    <p:sldLayoutId id="2147484306" r:id="rId68"/>
    <p:sldLayoutId id="2147484307" r:id="rId69"/>
    <p:sldLayoutId id="2147484308" r:id="rId70"/>
    <p:sldLayoutId id="2147484309" r:id="rId71"/>
    <p:sldLayoutId id="2147484310" r:id="rId72"/>
    <p:sldLayoutId id="2147484311" r:id="rId73"/>
    <p:sldLayoutId id="2147484312" r:id="rId74"/>
    <p:sldLayoutId id="2147484313"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32441299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9"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943435903"/>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 id="2147484319" r:id="rId5"/>
    <p:sldLayoutId id="2147484320" r:id="rId6"/>
    <p:sldLayoutId id="2147484321" r:id="rId7"/>
    <p:sldLayoutId id="2147484322" r:id="rId8"/>
    <p:sldLayoutId id="2147484323" r:id="rId9"/>
    <p:sldLayoutId id="2147484324" r:id="rId10"/>
    <p:sldLayoutId id="2147484325" r:id="rId11"/>
    <p:sldLayoutId id="2147484326" r:id="rId12"/>
    <p:sldLayoutId id="2147484327" r:id="rId13"/>
    <p:sldLayoutId id="2147484328" r:id="rId14"/>
    <p:sldLayoutId id="2147484329" r:id="rId15"/>
    <p:sldLayoutId id="2147484330" r:id="rId16"/>
    <p:sldLayoutId id="2147484331" r:id="rId17"/>
    <p:sldLayoutId id="2147484332" r:id="rId18"/>
    <p:sldLayoutId id="2147484333" r:id="rId19"/>
    <p:sldLayoutId id="2147484334" r:id="rId20"/>
    <p:sldLayoutId id="2147484335" r:id="rId21"/>
    <p:sldLayoutId id="2147484336" r:id="rId22"/>
    <p:sldLayoutId id="2147484337" r:id="rId23"/>
    <p:sldLayoutId id="2147484338" r:id="rId24"/>
    <p:sldLayoutId id="2147484339" r:id="rId25"/>
    <p:sldLayoutId id="2147484340" r:id="rId26"/>
    <p:sldLayoutId id="2147484341" r:id="rId27"/>
    <p:sldLayoutId id="2147484342" r:id="rId28"/>
    <p:sldLayoutId id="2147484343" r:id="rId29"/>
    <p:sldLayoutId id="2147484344" r:id="rId30"/>
    <p:sldLayoutId id="2147484345" r:id="rId31"/>
    <p:sldLayoutId id="2147484346" r:id="rId32"/>
    <p:sldLayoutId id="2147484347" r:id="rId33"/>
    <p:sldLayoutId id="2147484348" r:id="rId34"/>
    <p:sldLayoutId id="2147484349" r:id="rId35"/>
    <p:sldLayoutId id="2147484350" r:id="rId36"/>
    <p:sldLayoutId id="2147484351" r:id="rId37"/>
    <p:sldLayoutId id="2147484352" r:id="rId38"/>
    <p:sldLayoutId id="2147484353" r:id="rId39"/>
    <p:sldLayoutId id="2147484354" r:id="rId40"/>
    <p:sldLayoutId id="2147484355" r:id="rId41"/>
    <p:sldLayoutId id="2147484356" r:id="rId42"/>
    <p:sldLayoutId id="2147484357" r:id="rId43"/>
    <p:sldLayoutId id="2147484358" r:id="rId44"/>
    <p:sldLayoutId id="2147484359" r:id="rId45"/>
    <p:sldLayoutId id="2147484360" r:id="rId46"/>
    <p:sldLayoutId id="2147484361" r:id="rId47"/>
    <p:sldLayoutId id="2147484362" r:id="rId48"/>
    <p:sldLayoutId id="2147484363" r:id="rId49"/>
    <p:sldLayoutId id="2147484364" r:id="rId50"/>
    <p:sldLayoutId id="2147484365" r:id="rId51"/>
    <p:sldLayoutId id="2147484366" r:id="rId52"/>
    <p:sldLayoutId id="2147484367" r:id="rId53"/>
    <p:sldLayoutId id="2147484368" r:id="rId54"/>
    <p:sldLayoutId id="2147484369" r:id="rId55"/>
    <p:sldLayoutId id="2147484370" r:id="rId56"/>
    <p:sldLayoutId id="2147484371" r:id="rId57"/>
    <p:sldLayoutId id="2147484372" r:id="rId58"/>
    <p:sldLayoutId id="2147484373" r:id="rId59"/>
    <p:sldLayoutId id="2147484374" r:id="rId60"/>
    <p:sldLayoutId id="2147484375" r:id="rId61"/>
    <p:sldLayoutId id="2147484376" r:id="rId62"/>
    <p:sldLayoutId id="2147484377" r:id="rId63"/>
    <p:sldLayoutId id="2147484378" r:id="rId64"/>
    <p:sldLayoutId id="2147484379" r:id="rId65"/>
    <p:sldLayoutId id="2147484380" r:id="rId66"/>
    <p:sldLayoutId id="2147484381" r:id="rId67"/>
    <p:sldLayoutId id="2147484382" r:id="rId68"/>
    <p:sldLayoutId id="2147484383" r:id="rId69"/>
    <p:sldLayoutId id="2147484384" r:id="rId70"/>
    <p:sldLayoutId id="2147484385" r:id="rId71"/>
    <p:sldLayoutId id="2147484386" r:id="rId72"/>
    <p:sldLayoutId id="2147484387" r:id="rId73"/>
    <p:sldLayoutId id="2147484388" r:id="rId74"/>
    <p:sldLayoutId id="2147484389"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8"/>
            </p:custDataLst>
            <p:extLst>
              <p:ext uri="{D42A27DB-BD31-4B8C-83A1-F6EECF244321}">
                <p14:modId xmlns:p14="http://schemas.microsoft.com/office/powerpoint/2010/main" val="2411549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43" name="think-cell Slide" r:id="rId80" imgW="270" imgH="270" progId="TCLayout.ActiveDocument.1">
                  <p:embed/>
                </p:oleObj>
              </mc:Choice>
              <mc:Fallback>
                <p:oleObj name="think-cell Slide" r:id="rId80" imgW="270" imgH="270" progId="TCLayout.ActiveDocument.1">
                  <p:embed/>
                  <p:pic>
                    <p:nvPicPr>
                      <p:cNvPr id="2" name="Object 1" hidden="1"/>
                      <p:cNvPicPr/>
                      <p:nvPr/>
                    </p:nvPicPr>
                    <p:blipFill>
                      <a:blip r:embed="rId81"/>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7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2245994550"/>
      </p:ext>
    </p:extLst>
  </p:cSld>
  <p:clrMap bg1="lt1" tx1="dk1" bg2="lt2" tx2="dk2" accent1="accent1" accent2="accent2" accent3="accent3" accent4="accent4" accent5="accent5" accent6="accent6" hlink="hlink" folHlink="folHlink"/>
  <p:sldLayoutIdLst>
    <p:sldLayoutId id="2147484391" r:id="rId1"/>
    <p:sldLayoutId id="2147484392" r:id="rId2"/>
    <p:sldLayoutId id="2147484393" r:id="rId3"/>
    <p:sldLayoutId id="2147484394" r:id="rId4"/>
    <p:sldLayoutId id="2147484395" r:id="rId5"/>
    <p:sldLayoutId id="2147484396" r:id="rId6"/>
    <p:sldLayoutId id="2147484397" r:id="rId7"/>
    <p:sldLayoutId id="2147484398" r:id="rId8"/>
    <p:sldLayoutId id="2147484399" r:id="rId9"/>
    <p:sldLayoutId id="2147484400" r:id="rId10"/>
    <p:sldLayoutId id="2147484401" r:id="rId11"/>
    <p:sldLayoutId id="2147484402" r:id="rId12"/>
    <p:sldLayoutId id="2147484403" r:id="rId13"/>
    <p:sldLayoutId id="2147484404" r:id="rId14"/>
    <p:sldLayoutId id="2147484405" r:id="rId15"/>
    <p:sldLayoutId id="2147484406" r:id="rId16"/>
    <p:sldLayoutId id="2147484407" r:id="rId17"/>
    <p:sldLayoutId id="2147484408" r:id="rId18"/>
    <p:sldLayoutId id="2147484409" r:id="rId19"/>
    <p:sldLayoutId id="2147484410" r:id="rId20"/>
    <p:sldLayoutId id="2147484411" r:id="rId21"/>
    <p:sldLayoutId id="2147484412" r:id="rId22"/>
    <p:sldLayoutId id="2147484413" r:id="rId23"/>
    <p:sldLayoutId id="2147484414" r:id="rId24"/>
    <p:sldLayoutId id="2147484415" r:id="rId25"/>
    <p:sldLayoutId id="2147484416" r:id="rId26"/>
    <p:sldLayoutId id="2147484417" r:id="rId27"/>
    <p:sldLayoutId id="2147484418" r:id="rId28"/>
    <p:sldLayoutId id="2147484419" r:id="rId29"/>
    <p:sldLayoutId id="2147484420" r:id="rId30"/>
    <p:sldLayoutId id="2147484421" r:id="rId31"/>
    <p:sldLayoutId id="2147484422" r:id="rId32"/>
    <p:sldLayoutId id="2147484423" r:id="rId33"/>
    <p:sldLayoutId id="2147484424" r:id="rId34"/>
    <p:sldLayoutId id="2147484425" r:id="rId35"/>
    <p:sldLayoutId id="2147484426" r:id="rId36"/>
    <p:sldLayoutId id="2147484427" r:id="rId37"/>
    <p:sldLayoutId id="2147484428" r:id="rId38"/>
    <p:sldLayoutId id="2147484429" r:id="rId39"/>
    <p:sldLayoutId id="2147484430" r:id="rId40"/>
    <p:sldLayoutId id="2147484431" r:id="rId41"/>
    <p:sldLayoutId id="2147484432" r:id="rId42"/>
    <p:sldLayoutId id="2147484433" r:id="rId43"/>
    <p:sldLayoutId id="2147484434" r:id="rId44"/>
    <p:sldLayoutId id="2147484435" r:id="rId45"/>
    <p:sldLayoutId id="2147484436" r:id="rId46"/>
    <p:sldLayoutId id="2147484437" r:id="rId47"/>
    <p:sldLayoutId id="2147484438" r:id="rId48"/>
    <p:sldLayoutId id="2147484439" r:id="rId49"/>
    <p:sldLayoutId id="2147484440" r:id="rId50"/>
    <p:sldLayoutId id="2147484441" r:id="rId51"/>
    <p:sldLayoutId id="2147484442" r:id="rId52"/>
    <p:sldLayoutId id="2147484443" r:id="rId53"/>
    <p:sldLayoutId id="2147484444" r:id="rId54"/>
    <p:sldLayoutId id="2147484445" r:id="rId55"/>
    <p:sldLayoutId id="2147484446" r:id="rId56"/>
    <p:sldLayoutId id="2147484447" r:id="rId57"/>
    <p:sldLayoutId id="2147484448" r:id="rId58"/>
    <p:sldLayoutId id="2147484449" r:id="rId59"/>
    <p:sldLayoutId id="2147484450" r:id="rId60"/>
    <p:sldLayoutId id="2147484451" r:id="rId61"/>
    <p:sldLayoutId id="2147484452" r:id="rId62"/>
    <p:sldLayoutId id="2147484453" r:id="rId63"/>
    <p:sldLayoutId id="2147484454" r:id="rId64"/>
    <p:sldLayoutId id="2147484455" r:id="rId65"/>
    <p:sldLayoutId id="2147484456" r:id="rId66"/>
    <p:sldLayoutId id="2147484457" r:id="rId67"/>
    <p:sldLayoutId id="2147484458" r:id="rId68"/>
    <p:sldLayoutId id="2147484459" r:id="rId69"/>
    <p:sldLayoutId id="2147484460" r:id="rId70"/>
    <p:sldLayoutId id="2147484461" r:id="rId71"/>
    <p:sldLayoutId id="2147484462" r:id="rId72"/>
    <p:sldLayoutId id="2147484463" r:id="rId73"/>
    <p:sldLayoutId id="2147484464" r:id="rId74"/>
    <p:sldLayoutId id="2147484465" r:id="rId7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13" Type="http://schemas.openxmlformats.org/officeDocument/2006/relationships/tags" Target="../tags/tag539.xml"/><Relationship Id="rId18" Type="http://schemas.openxmlformats.org/officeDocument/2006/relationships/tags" Target="../tags/tag544.xml"/><Relationship Id="rId26" Type="http://schemas.openxmlformats.org/officeDocument/2006/relationships/tags" Target="../tags/tag552.xml"/><Relationship Id="rId39" Type="http://schemas.openxmlformats.org/officeDocument/2006/relationships/oleObject" Target="../embeddings/oleObject81.bin"/><Relationship Id="rId21" Type="http://schemas.openxmlformats.org/officeDocument/2006/relationships/tags" Target="../tags/tag547.xml"/><Relationship Id="rId34" Type="http://schemas.openxmlformats.org/officeDocument/2006/relationships/tags" Target="../tags/tag560.xml"/><Relationship Id="rId42" Type="http://schemas.openxmlformats.org/officeDocument/2006/relationships/chart" Target="../charts/chart4.xml"/><Relationship Id="rId7" Type="http://schemas.openxmlformats.org/officeDocument/2006/relationships/tags" Target="../tags/tag533.xml"/><Relationship Id="rId2" Type="http://schemas.openxmlformats.org/officeDocument/2006/relationships/tags" Target="../tags/tag528.xml"/><Relationship Id="rId16" Type="http://schemas.openxmlformats.org/officeDocument/2006/relationships/tags" Target="../tags/tag542.xml"/><Relationship Id="rId20" Type="http://schemas.openxmlformats.org/officeDocument/2006/relationships/tags" Target="../tags/tag546.xml"/><Relationship Id="rId29" Type="http://schemas.openxmlformats.org/officeDocument/2006/relationships/tags" Target="../tags/tag555.xml"/><Relationship Id="rId41" Type="http://schemas.openxmlformats.org/officeDocument/2006/relationships/chart" Target="../charts/chart3.xml"/><Relationship Id="rId1" Type="http://schemas.openxmlformats.org/officeDocument/2006/relationships/vmlDrawing" Target="../drawings/vmlDrawing309.vml"/><Relationship Id="rId6" Type="http://schemas.openxmlformats.org/officeDocument/2006/relationships/tags" Target="../tags/tag532.xml"/><Relationship Id="rId11" Type="http://schemas.openxmlformats.org/officeDocument/2006/relationships/tags" Target="../tags/tag537.xml"/><Relationship Id="rId24" Type="http://schemas.openxmlformats.org/officeDocument/2006/relationships/tags" Target="../tags/tag550.xml"/><Relationship Id="rId32" Type="http://schemas.openxmlformats.org/officeDocument/2006/relationships/tags" Target="../tags/tag558.xml"/><Relationship Id="rId37" Type="http://schemas.openxmlformats.org/officeDocument/2006/relationships/tags" Target="../tags/tag563.xml"/><Relationship Id="rId40" Type="http://schemas.openxmlformats.org/officeDocument/2006/relationships/image" Target="../media/image35.emf"/><Relationship Id="rId5" Type="http://schemas.openxmlformats.org/officeDocument/2006/relationships/tags" Target="../tags/tag531.xml"/><Relationship Id="rId15" Type="http://schemas.openxmlformats.org/officeDocument/2006/relationships/tags" Target="../tags/tag541.xml"/><Relationship Id="rId23" Type="http://schemas.openxmlformats.org/officeDocument/2006/relationships/tags" Target="../tags/tag549.xml"/><Relationship Id="rId28" Type="http://schemas.openxmlformats.org/officeDocument/2006/relationships/tags" Target="../tags/tag554.xml"/><Relationship Id="rId36" Type="http://schemas.openxmlformats.org/officeDocument/2006/relationships/tags" Target="../tags/tag562.xml"/><Relationship Id="rId10" Type="http://schemas.openxmlformats.org/officeDocument/2006/relationships/tags" Target="../tags/tag536.xml"/><Relationship Id="rId19" Type="http://schemas.openxmlformats.org/officeDocument/2006/relationships/tags" Target="../tags/tag545.xml"/><Relationship Id="rId31" Type="http://schemas.openxmlformats.org/officeDocument/2006/relationships/tags" Target="../tags/tag557.xml"/><Relationship Id="rId4" Type="http://schemas.openxmlformats.org/officeDocument/2006/relationships/tags" Target="../tags/tag530.xml"/><Relationship Id="rId9" Type="http://schemas.openxmlformats.org/officeDocument/2006/relationships/tags" Target="../tags/tag535.xml"/><Relationship Id="rId14" Type="http://schemas.openxmlformats.org/officeDocument/2006/relationships/tags" Target="../tags/tag540.xml"/><Relationship Id="rId22" Type="http://schemas.openxmlformats.org/officeDocument/2006/relationships/tags" Target="../tags/tag548.xml"/><Relationship Id="rId27" Type="http://schemas.openxmlformats.org/officeDocument/2006/relationships/tags" Target="../tags/tag553.xml"/><Relationship Id="rId30" Type="http://schemas.openxmlformats.org/officeDocument/2006/relationships/tags" Target="../tags/tag556.xml"/><Relationship Id="rId35" Type="http://schemas.openxmlformats.org/officeDocument/2006/relationships/tags" Target="../tags/tag561.xml"/><Relationship Id="rId8" Type="http://schemas.openxmlformats.org/officeDocument/2006/relationships/tags" Target="../tags/tag534.xml"/><Relationship Id="rId3" Type="http://schemas.openxmlformats.org/officeDocument/2006/relationships/tags" Target="../tags/tag529.xml"/><Relationship Id="rId12" Type="http://schemas.openxmlformats.org/officeDocument/2006/relationships/tags" Target="../tags/tag538.xml"/><Relationship Id="rId17" Type="http://schemas.openxmlformats.org/officeDocument/2006/relationships/tags" Target="../tags/tag543.xml"/><Relationship Id="rId25" Type="http://schemas.openxmlformats.org/officeDocument/2006/relationships/tags" Target="../tags/tag551.xml"/><Relationship Id="rId33" Type="http://schemas.openxmlformats.org/officeDocument/2006/relationships/tags" Target="../tags/tag559.xml"/><Relationship Id="rId38"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565.xml"/><Relationship Id="rId7" Type="http://schemas.openxmlformats.org/officeDocument/2006/relationships/oleObject" Target="../embeddings/oleObject83.bin"/><Relationship Id="rId2" Type="http://schemas.openxmlformats.org/officeDocument/2006/relationships/tags" Target="../tags/tag564.xml"/><Relationship Id="rId1" Type="http://schemas.openxmlformats.org/officeDocument/2006/relationships/vmlDrawing" Target="../drawings/vmlDrawing310.vml"/><Relationship Id="rId6" Type="http://schemas.openxmlformats.org/officeDocument/2006/relationships/image" Target="../media/image35.emf"/><Relationship Id="rId5" Type="http://schemas.openxmlformats.org/officeDocument/2006/relationships/oleObject" Target="../embeddings/oleObject82.bin"/><Relationship Id="rId4" Type="http://schemas.openxmlformats.org/officeDocument/2006/relationships/slideLayout" Target="../slideLayouts/slideLayout160.xml"/></Relationships>
</file>

<file path=ppt/slides/_rels/slide12.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5.xml"/><Relationship Id="rId1" Type="http://schemas.openxmlformats.org/officeDocument/2006/relationships/slideLayout" Target="../slideLayouts/slideLayout40.xml"/></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76.xml"/></Relationships>
</file>

<file path=ppt/slides/_rels/slide4.xml.rels><?xml version="1.0" encoding="UTF-8" standalone="yes"?>
<Relationships xmlns="http://schemas.openxmlformats.org/package/2006/relationships"><Relationship Id="rId3" Type="http://schemas.openxmlformats.org/officeDocument/2006/relationships/hyperlink" Target="https://agesandstages.com/ks/" TargetMode="External"/><Relationship Id="rId2" Type="http://schemas.openxmlformats.org/officeDocument/2006/relationships/notesSlide" Target="../notesSlides/notesSlide3.xml"/><Relationship Id="rId1" Type="http://schemas.openxmlformats.org/officeDocument/2006/relationships/slideLayout" Target="../slideLayouts/slideLayout49.xml"/><Relationship Id="rId4" Type="http://schemas.openxmlformats.org/officeDocument/2006/relationships/hyperlink" Target="mailto:jchristian@ksde.org"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KBOH@ks.gov" TargetMode="External"/><Relationship Id="rId2" Type="http://schemas.openxmlformats.org/officeDocument/2006/relationships/notesSlide" Target="../notesSlides/notesSlide4.xml"/><Relationship Id="rId1" Type="http://schemas.openxmlformats.org/officeDocument/2006/relationships/slideLayout" Target="../slideLayouts/slideLayout49.xml"/><Relationship Id="rId4" Type="http://schemas.openxmlformats.org/officeDocument/2006/relationships/hyperlink" Target="https://www.kdheks.gov/ohi/download/screening_initiative/State_Statute.pdf"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10.xml"/><Relationship Id="rId2" Type="http://schemas.openxmlformats.org/officeDocument/2006/relationships/tags" Target="../tags/tag481.xml"/><Relationship Id="rId1" Type="http://schemas.openxmlformats.org/officeDocument/2006/relationships/vmlDrawing" Target="../drawings/vmlDrawing305.vml"/><Relationship Id="rId5" Type="http://schemas.openxmlformats.org/officeDocument/2006/relationships/image" Target="../media/image35.emf"/><Relationship Id="rId4" Type="http://schemas.openxmlformats.org/officeDocument/2006/relationships/oleObject" Target="../embeddings/oleObject77.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35.xml"/><Relationship Id="rId2" Type="http://schemas.openxmlformats.org/officeDocument/2006/relationships/tags" Target="../tags/tag482.xml"/><Relationship Id="rId1" Type="http://schemas.openxmlformats.org/officeDocument/2006/relationships/vmlDrawing" Target="../drawings/vmlDrawing306.vml"/><Relationship Id="rId6" Type="http://schemas.openxmlformats.org/officeDocument/2006/relationships/image" Target="../media/image36.png"/><Relationship Id="rId5" Type="http://schemas.openxmlformats.org/officeDocument/2006/relationships/image" Target="../media/image35.emf"/><Relationship Id="rId4" Type="http://schemas.openxmlformats.org/officeDocument/2006/relationships/oleObject" Target="../embeddings/oleObject78.bin"/></Relationships>
</file>

<file path=ppt/slides/_rels/slide8.xml.rels><?xml version="1.0" encoding="UTF-8" standalone="yes"?>
<Relationships xmlns="http://schemas.openxmlformats.org/package/2006/relationships"><Relationship Id="rId13" Type="http://schemas.openxmlformats.org/officeDocument/2006/relationships/tags" Target="../tags/tag494.xml"/><Relationship Id="rId18" Type="http://schemas.openxmlformats.org/officeDocument/2006/relationships/tags" Target="../tags/tag499.xml"/><Relationship Id="rId26" Type="http://schemas.openxmlformats.org/officeDocument/2006/relationships/tags" Target="../tags/tag507.xml"/><Relationship Id="rId39" Type="http://schemas.openxmlformats.org/officeDocument/2006/relationships/tags" Target="../tags/tag520.xml"/><Relationship Id="rId21" Type="http://schemas.openxmlformats.org/officeDocument/2006/relationships/tags" Target="../tags/tag502.xml"/><Relationship Id="rId34" Type="http://schemas.openxmlformats.org/officeDocument/2006/relationships/tags" Target="../tags/tag515.xml"/><Relationship Id="rId42" Type="http://schemas.openxmlformats.org/officeDocument/2006/relationships/tags" Target="../tags/tag523.xml"/><Relationship Id="rId47" Type="http://schemas.openxmlformats.org/officeDocument/2006/relationships/oleObject" Target="../embeddings/oleObject79.bin"/><Relationship Id="rId50" Type="http://schemas.openxmlformats.org/officeDocument/2006/relationships/chart" Target="../charts/chart2.xml"/><Relationship Id="rId7" Type="http://schemas.openxmlformats.org/officeDocument/2006/relationships/tags" Target="../tags/tag488.xml"/><Relationship Id="rId2" Type="http://schemas.openxmlformats.org/officeDocument/2006/relationships/tags" Target="../tags/tag483.xml"/><Relationship Id="rId16" Type="http://schemas.openxmlformats.org/officeDocument/2006/relationships/tags" Target="../tags/tag497.xml"/><Relationship Id="rId29" Type="http://schemas.openxmlformats.org/officeDocument/2006/relationships/tags" Target="../tags/tag510.xml"/><Relationship Id="rId11" Type="http://schemas.openxmlformats.org/officeDocument/2006/relationships/tags" Target="../tags/tag492.xml"/><Relationship Id="rId24" Type="http://schemas.openxmlformats.org/officeDocument/2006/relationships/tags" Target="../tags/tag505.xml"/><Relationship Id="rId32" Type="http://schemas.openxmlformats.org/officeDocument/2006/relationships/tags" Target="../tags/tag513.xml"/><Relationship Id="rId37" Type="http://schemas.openxmlformats.org/officeDocument/2006/relationships/tags" Target="../tags/tag518.xml"/><Relationship Id="rId40" Type="http://schemas.openxmlformats.org/officeDocument/2006/relationships/tags" Target="../tags/tag521.xml"/><Relationship Id="rId45" Type="http://schemas.openxmlformats.org/officeDocument/2006/relationships/tags" Target="../tags/tag526.xml"/><Relationship Id="rId5" Type="http://schemas.openxmlformats.org/officeDocument/2006/relationships/tags" Target="../tags/tag486.xml"/><Relationship Id="rId15" Type="http://schemas.openxmlformats.org/officeDocument/2006/relationships/tags" Target="../tags/tag496.xml"/><Relationship Id="rId23" Type="http://schemas.openxmlformats.org/officeDocument/2006/relationships/tags" Target="../tags/tag504.xml"/><Relationship Id="rId28" Type="http://schemas.openxmlformats.org/officeDocument/2006/relationships/tags" Target="../tags/tag509.xml"/><Relationship Id="rId36" Type="http://schemas.openxmlformats.org/officeDocument/2006/relationships/tags" Target="../tags/tag517.xml"/><Relationship Id="rId49" Type="http://schemas.openxmlformats.org/officeDocument/2006/relationships/chart" Target="../charts/chart1.xml"/><Relationship Id="rId10" Type="http://schemas.openxmlformats.org/officeDocument/2006/relationships/tags" Target="../tags/tag491.xml"/><Relationship Id="rId19" Type="http://schemas.openxmlformats.org/officeDocument/2006/relationships/tags" Target="../tags/tag500.xml"/><Relationship Id="rId31" Type="http://schemas.openxmlformats.org/officeDocument/2006/relationships/tags" Target="../tags/tag512.xml"/><Relationship Id="rId44" Type="http://schemas.openxmlformats.org/officeDocument/2006/relationships/tags" Target="../tags/tag525.xml"/><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tags" Target="../tags/tag495.xml"/><Relationship Id="rId22" Type="http://schemas.openxmlformats.org/officeDocument/2006/relationships/tags" Target="../tags/tag503.xml"/><Relationship Id="rId27" Type="http://schemas.openxmlformats.org/officeDocument/2006/relationships/tags" Target="../tags/tag508.xml"/><Relationship Id="rId30" Type="http://schemas.openxmlformats.org/officeDocument/2006/relationships/tags" Target="../tags/tag511.xml"/><Relationship Id="rId35" Type="http://schemas.openxmlformats.org/officeDocument/2006/relationships/tags" Target="../tags/tag516.xml"/><Relationship Id="rId43" Type="http://schemas.openxmlformats.org/officeDocument/2006/relationships/tags" Target="../tags/tag524.xml"/><Relationship Id="rId48" Type="http://schemas.openxmlformats.org/officeDocument/2006/relationships/image" Target="../media/image35.emf"/><Relationship Id="rId8" Type="http://schemas.openxmlformats.org/officeDocument/2006/relationships/tags" Target="../tags/tag489.xml"/><Relationship Id="rId3" Type="http://schemas.openxmlformats.org/officeDocument/2006/relationships/tags" Target="../tags/tag484.xml"/><Relationship Id="rId12" Type="http://schemas.openxmlformats.org/officeDocument/2006/relationships/tags" Target="../tags/tag493.xml"/><Relationship Id="rId17" Type="http://schemas.openxmlformats.org/officeDocument/2006/relationships/tags" Target="../tags/tag498.xml"/><Relationship Id="rId25" Type="http://schemas.openxmlformats.org/officeDocument/2006/relationships/tags" Target="../tags/tag506.xml"/><Relationship Id="rId33" Type="http://schemas.openxmlformats.org/officeDocument/2006/relationships/tags" Target="../tags/tag514.xml"/><Relationship Id="rId38" Type="http://schemas.openxmlformats.org/officeDocument/2006/relationships/tags" Target="../tags/tag519.xml"/><Relationship Id="rId46" Type="http://schemas.openxmlformats.org/officeDocument/2006/relationships/slideLayout" Target="../slideLayouts/slideLayout85.xml"/><Relationship Id="rId20" Type="http://schemas.openxmlformats.org/officeDocument/2006/relationships/tags" Target="../tags/tag501.xml"/><Relationship Id="rId41" Type="http://schemas.openxmlformats.org/officeDocument/2006/relationships/tags" Target="../tags/tag522.xml"/><Relationship Id="rId1" Type="http://schemas.openxmlformats.org/officeDocument/2006/relationships/vmlDrawing" Target="../drawings/vmlDrawing307.vml"/><Relationship Id="rId6" Type="http://schemas.openxmlformats.org/officeDocument/2006/relationships/tags" Target="../tags/tag48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60.xml"/><Relationship Id="rId2" Type="http://schemas.openxmlformats.org/officeDocument/2006/relationships/tags" Target="../tags/tag527.xml"/><Relationship Id="rId1" Type="http://schemas.openxmlformats.org/officeDocument/2006/relationships/vmlDrawing" Target="../drawings/vmlDrawing308.vml"/><Relationship Id="rId5" Type="http://schemas.openxmlformats.org/officeDocument/2006/relationships/image" Target="../media/image35.emf"/><Relationship Id="rId4" Type="http://schemas.openxmlformats.org/officeDocument/2006/relationships/oleObject" Target="../embeddings/oleObject8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81000" y="4290581"/>
            <a:ext cx="11811000" cy="891019"/>
          </a:xfrm>
        </p:spPr>
        <p:txBody>
          <a:bodyPr>
            <a:noAutofit/>
          </a:bodyPr>
          <a:lstStyle/>
          <a:p>
            <a:r>
              <a:rPr lang="en-US" sz="2800" b="1" dirty="0">
                <a:latin typeface="+mn-lt"/>
              </a:rPr>
              <a:t>Council of Superintendents September 2021</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257801"/>
            <a:ext cx="8610600" cy="688099"/>
          </a:xfrm>
        </p:spPr>
        <p:txBody>
          <a:bodyPr>
            <a:noAutofit/>
          </a:bodyPr>
          <a:lstStyle/>
          <a:p>
            <a:r>
              <a:rPr lang="en-US" dirty="0"/>
              <a:t>Dr. Randy Watson, Kansas Commissioner of Education</a:t>
            </a:r>
          </a:p>
        </p:txBody>
      </p:sp>
    </p:spTree>
    <p:extLst>
      <p:ext uri="{BB962C8B-B14F-4D97-AF65-F5344CB8AC3E}">
        <p14:creationId xmlns:p14="http://schemas.microsoft.com/office/powerpoint/2010/main" val="46973384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92BDEB-2C88-4EC7-B645-83EEB06DA5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27" name="think-cell Slide" r:id="rId39" imgW="395" imgH="394" progId="TCLayout.ActiveDocument.1">
                  <p:embed/>
                </p:oleObj>
              </mc:Choice>
              <mc:Fallback>
                <p:oleObj name="think-cell Slide" r:id="rId39" imgW="395" imgH="394" progId="TCLayout.ActiveDocument.1">
                  <p:embed/>
                  <p:pic>
                    <p:nvPicPr>
                      <p:cNvPr id="4" name="Object 3" hidden="1">
                        <a:extLst>
                          <a:ext uri="{FF2B5EF4-FFF2-40B4-BE49-F238E27FC236}">
                            <a16:creationId xmlns:a16="http://schemas.microsoft.com/office/drawing/2014/main" id="{7692BDEB-2C88-4EC7-B645-83EEB06DA5CE}"/>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52" name="Rectangle 151">
            <a:extLst>
              <a:ext uri="{FF2B5EF4-FFF2-40B4-BE49-F238E27FC236}">
                <a16:creationId xmlns:a16="http://schemas.microsoft.com/office/drawing/2014/main" id="{EF0A7B0F-3884-4AEB-A806-813A69904201}"/>
              </a:ext>
            </a:extLst>
          </p:cNvPr>
          <p:cNvSpPr/>
          <p:nvPr/>
        </p:nvSpPr>
        <p:spPr>
          <a:xfrm>
            <a:off x="617075" y="5628291"/>
            <a:ext cx="11055813" cy="53317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 name="Title 1">
            <a:extLst>
              <a:ext uri="{FF2B5EF4-FFF2-40B4-BE49-F238E27FC236}">
                <a16:creationId xmlns:a16="http://schemas.microsoft.com/office/drawing/2014/main" id="{67E37A79-4C3C-4314-B881-B689C1D85348}"/>
              </a:ext>
            </a:extLst>
          </p:cNvPr>
          <p:cNvSpPr>
            <a:spLocks noGrp="1"/>
          </p:cNvSpPr>
          <p:nvPr>
            <p:ph type="title"/>
          </p:nvPr>
        </p:nvSpPr>
        <p:spPr>
          <a:xfrm>
            <a:off x="1058257" y="644194"/>
            <a:ext cx="10845265" cy="387798"/>
          </a:xfrm>
        </p:spPr>
        <p:txBody>
          <a:bodyPr vert="horz"/>
          <a:lstStyle/>
          <a:p>
            <a:r>
              <a:rPr lang="en-US" dirty="0">
                <a:solidFill>
                  <a:srgbClr val="EDAE1D"/>
                </a:solidFill>
              </a:rPr>
              <a:t>Masking |</a:t>
            </a:r>
            <a:r>
              <a:rPr lang="en-US" dirty="0"/>
              <a:t> Mask mandates by School District and % of total KS youth pop.</a:t>
            </a:r>
          </a:p>
        </p:txBody>
      </p:sp>
      <p:cxnSp>
        <p:nvCxnSpPr>
          <p:cNvPr id="6" name="Straight Connector 5">
            <a:extLst>
              <a:ext uri="{FF2B5EF4-FFF2-40B4-BE49-F238E27FC236}">
                <a16:creationId xmlns:a16="http://schemas.microsoft.com/office/drawing/2014/main" id="{2E946EF4-76E4-44DC-920E-796BD5F79D15}"/>
              </a:ext>
            </a:extLst>
          </p:cNvPr>
          <p:cNvCxnSpPr/>
          <p:nvPr>
            <p:custDataLst>
              <p:tags r:id="rId3"/>
            </p:custDataLst>
          </p:nvPr>
        </p:nvCxnSpPr>
        <p:spPr bwMode="gray">
          <a:xfrm>
            <a:off x="5259388" y="4443414"/>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AA349A6F-D483-4F9A-808F-2FDAFEEAC966}"/>
              </a:ext>
            </a:extLst>
          </p:cNvPr>
          <p:cNvCxnSpPr/>
          <p:nvPr>
            <p:custDataLst>
              <p:tags r:id="rId4"/>
            </p:custDataLst>
          </p:nvPr>
        </p:nvCxnSpPr>
        <p:spPr bwMode="gray">
          <a:xfrm>
            <a:off x="4805363" y="3362326"/>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E1739C8F-3236-47D4-B17B-0D6461DDDE2E}"/>
              </a:ext>
            </a:extLst>
          </p:cNvPr>
          <p:cNvCxnSpPr/>
          <p:nvPr>
            <p:custDataLst>
              <p:tags r:id="rId5"/>
            </p:custDataLst>
          </p:nvPr>
        </p:nvCxnSpPr>
        <p:spPr bwMode="gray">
          <a:xfrm>
            <a:off x="5167313" y="3902076"/>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751ED4D8-9C8D-4F36-9982-5A803A38691A}"/>
              </a:ext>
            </a:extLst>
          </p:cNvPr>
          <p:cNvCxnSpPr/>
          <p:nvPr>
            <p:custDataLst>
              <p:tags r:id="rId6"/>
            </p:custDataLst>
          </p:nvPr>
        </p:nvCxnSpPr>
        <p:spPr bwMode="gray">
          <a:xfrm>
            <a:off x="5481638" y="4984751"/>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6006F4E4-88FA-4605-BE2A-4C48EC71529D}"/>
              </a:ext>
            </a:extLst>
          </p:cNvPr>
          <p:cNvCxnSpPr/>
          <p:nvPr>
            <p:custDataLst>
              <p:tags r:id="rId7"/>
            </p:custDataLst>
          </p:nvPr>
        </p:nvCxnSpPr>
        <p:spPr bwMode="gray">
          <a:xfrm>
            <a:off x="6945313" y="5524500"/>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2" name="Chart 101">
            <a:extLst>
              <a:ext uri="{FF2B5EF4-FFF2-40B4-BE49-F238E27FC236}">
                <a16:creationId xmlns:a16="http://schemas.microsoft.com/office/drawing/2014/main" id="{FA2F05A5-FAB1-449C-837B-E06EAF57C86B}"/>
              </a:ext>
            </a:extLst>
          </p:cNvPr>
          <p:cNvGraphicFramePr/>
          <p:nvPr>
            <p:custDataLst>
              <p:tags r:id="rId8"/>
            </p:custDataLst>
          </p:nvPr>
        </p:nvGraphicFramePr>
        <p:xfrm>
          <a:off x="4019550" y="2840038"/>
          <a:ext cx="3332163" cy="3409950"/>
        </p:xfrm>
        <a:graphic>
          <a:graphicData uri="http://schemas.openxmlformats.org/drawingml/2006/chart">
            <c:chart xmlns:c="http://schemas.openxmlformats.org/drawingml/2006/chart" xmlns:r="http://schemas.openxmlformats.org/officeDocument/2006/relationships" r:id="rId41"/>
          </a:graphicData>
        </a:graphic>
      </p:graphicFrame>
      <p:cxnSp>
        <p:nvCxnSpPr>
          <p:cNvPr id="223" name="Straight Connector 222">
            <a:extLst>
              <a:ext uri="{FF2B5EF4-FFF2-40B4-BE49-F238E27FC236}">
                <a16:creationId xmlns:a16="http://schemas.microsoft.com/office/drawing/2014/main" id="{5215BB18-85AA-4867-8EE1-1979AF39AD3F}"/>
              </a:ext>
            </a:extLst>
          </p:cNvPr>
          <p:cNvCxnSpPr/>
          <p:nvPr>
            <p:custDataLst>
              <p:tags r:id="rId9"/>
            </p:custDataLst>
          </p:nvPr>
        </p:nvCxnSpPr>
        <p:spPr bwMode="gray">
          <a:xfrm flipH="1">
            <a:off x="5213350" y="4273550"/>
            <a:ext cx="71438"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7FF4DE2F-D7F8-4284-9000-8513AAD00FEF}"/>
              </a:ext>
            </a:extLst>
          </p:cNvPr>
          <p:cNvCxnSpPr/>
          <p:nvPr>
            <p:custDataLst>
              <p:tags r:id="rId10"/>
            </p:custDataLst>
          </p:nvPr>
        </p:nvCxnSpPr>
        <p:spPr bwMode="gray">
          <a:xfrm flipH="1">
            <a:off x="5091113" y="3732213"/>
            <a:ext cx="101600"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845EAE17-0D3F-48AD-B8D0-8C6F7FE15A57}"/>
              </a:ext>
            </a:extLst>
          </p:cNvPr>
          <p:cNvCxnSpPr/>
          <p:nvPr>
            <p:custDataLst>
              <p:tags r:id="rId11"/>
            </p:custDataLst>
          </p:nvPr>
        </p:nvCxnSpPr>
        <p:spPr bwMode="gray">
          <a:xfrm flipH="1">
            <a:off x="5405438" y="4814888"/>
            <a:ext cx="101600"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1" name="Text Placeholder 3">
            <a:extLst>
              <a:ext uri="{FF2B5EF4-FFF2-40B4-BE49-F238E27FC236}">
                <a16:creationId xmlns:a16="http://schemas.microsoft.com/office/drawing/2014/main" id="{A02ABDAD-3F09-4BDD-ABCB-28B47193A44B}"/>
              </a:ext>
            </a:extLst>
          </p:cNvPr>
          <p:cNvSpPr>
            <a:spLocks noGrp="1"/>
          </p:cNvSpPr>
          <p:nvPr>
            <p:custDataLst>
              <p:tags r:id="rId12"/>
            </p:custDataLst>
          </p:nvPr>
        </p:nvSpPr>
        <p:spPr bwMode="gray">
          <a:xfrm>
            <a:off x="777875" y="4140200"/>
            <a:ext cx="318770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CE503574-3550-4958-BD6A-EE87EEAB24B0}" type="datetime'Required for mo''st'', but n''o''t'''' a''l''l stude''nts'''''">
              <a:rPr lang="en-US" altLang="en-US" sz="1600" smtClean="0">
                <a:effectLst/>
              </a:rPr>
              <a:pPr algn="r">
                <a:spcBef>
                  <a:spcPct val="0"/>
                </a:spcBef>
                <a:spcAft>
                  <a:spcPct val="0"/>
                </a:spcAft>
              </a:pPr>
              <a:t>Required for most, but not all students</a:t>
            </a:fld>
            <a:endParaRPr lang="en-US" sz="1600" dirty="0"/>
          </a:p>
        </p:txBody>
      </p:sp>
      <p:sp>
        <p:nvSpPr>
          <p:cNvPr id="78" name="Text Placeholder 3">
            <a:extLst>
              <a:ext uri="{FF2B5EF4-FFF2-40B4-BE49-F238E27FC236}">
                <a16:creationId xmlns:a16="http://schemas.microsoft.com/office/drawing/2014/main" id="{2E6AF900-50EC-48B5-BA4D-F0E7338F4EE1}"/>
              </a:ext>
            </a:extLst>
          </p:cNvPr>
          <p:cNvSpPr>
            <a:spLocks noGrp="1"/>
          </p:cNvSpPr>
          <p:nvPr>
            <p:custDataLst>
              <p:tags r:id="rId13"/>
            </p:custDataLst>
          </p:nvPr>
        </p:nvSpPr>
        <p:spPr bwMode="gray">
          <a:xfrm>
            <a:off x="1587500" y="3059113"/>
            <a:ext cx="23780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708548A6-84E6-43BC-B0E6-581155E0E136}" type="datetime'En''''''co''ur''age''d ''but'' not ''re''qu''''''''''i''red'">
              <a:rPr lang="en-US" altLang="en-US" sz="1600" smtClean="0">
                <a:effectLst/>
              </a:rPr>
              <a:pPr algn="r">
                <a:spcBef>
                  <a:spcPct val="0"/>
                </a:spcBef>
                <a:spcAft>
                  <a:spcPct val="0"/>
                </a:spcAft>
              </a:pPr>
              <a:t>Encouraged but not required</a:t>
            </a:fld>
            <a:endParaRPr lang="en-US" sz="1600" dirty="0"/>
          </a:p>
        </p:txBody>
      </p:sp>
      <p:sp>
        <p:nvSpPr>
          <p:cNvPr id="214" name="Text Placeholder 3">
            <a:extLst>
              <a:ext uri="{FF2B5EF4-FFF2-40B4-BE49-F238E27FC236}">
                <a16:creationId xmlns:a16="http://schemas.microsoft.com/office/drawing/2014/main" id="{9D2B9726-595B-4760-8705-4E689E2934D7}"/>
              </a:ext>
            </a:extLst>
          </p:cNvPr>
          <p:cNvSpPr>
            <a:spLocks noGrp="1"/>
          </p:cNvSpPr>
          <p:nvPr>
            <p:custDataLst>
              <p:tags r:id="rId14"/>
            </p:custDataLst>
          </p:nvPr>
        </p:nvSpPr>
        <p:spPr bwMode="gray">
          <a:xfrm>
            <a:off x="5192713" y="3598863"/>
            <a:ext cx="779463"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D19DF831-7A93-448B-85D1-5F2B359A5B9D}" type="datetime'''''''3''''''''''''''9'''''''''''''''">
              <a:rPr lang="en-US" altLang="en-US" sz="1600" smtClean="0"/>
              <a:pPr/>
              <a:t>39</a:t>
            </a:fld>
            <a:r>
              <a:rPr lang="en-US" altLang="en-US" sz="1600">
                <a:effectLst/>
              </a:rPr>
              <a:t> (</a:t>
            </a:r>
            <a:fld id="{7D44E751-C210-4581-BFA7-A443DCE8202B}" type="datetime'''''''''''''1''''''''''''''''''''3''''''''''''%'''''''">
              <a:rPr lang="en-US" altLang="en-US" sz="1600" smtClean="0"/>
              <a:pPr/>
              <a:t>13%</a:t>
            </a:fld>
            <a:r>
              <a:rPr lang="en-US" sz="1600"/>
              <a:t>)</a:t>
            </a:r>
            <a:endParaRPr lang="en-US" sz="1600" dirty="0"/>
          </a:p>
        </p:txBody>
      </p:sp>
      <p:sp>
        <p:nvSpPr>
          <p:cNvPr id="80" name="Text Placeholder 3">
            <a:extLst>
              <a:ext uri="{FF2B5EF4-FFF2-40B4-BE49-F238E27FC236}">
                <a16:creationId xmlns:a16="http://schemas.microsoft.com/office/drawing/2014/main" id="{B471B545-BC0A-41D8-B7CE-DABFFA9FC64A}"/>
              </a:ext>
            </a:extLst>
          </p:cNvPr>
          <p:cNvSpPr>
            <a:spLocks noGrp="1"/>
          </p:cNvSpPr>
          <p:nvPr>
            <p:custDataLst>
              <p:tags r:id="rId15"/>
            </p:custDataLst>
          </p:nvPr>
        </p:nvSpPr>
        <p:spPr bwMode="gray">
          <a:xfrm>
            <a:off x="1944688" y="3598863"/>
            <a:ext cx="202088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5AE3755F-6B0F-4CF4-B45E-FCA787F8AB46}" type="datetime'Re''''''''''qu''ir''e''''d ''f''or al''l s''tud''en''t''s'">
              <a:rPr lang="en-US" altLang="en-US" sz="1600" smtClean="0">
                <a:effectLst/>
              </a:rPr>
              <a:pPr algn="r">
                <a:spcBef>
                  <a:spcPct val="0"/>
                </a:spcBef>
                <a:spcAft>
                  <a:spcPct val="0"/>
                </a:spcAft>
              </a:pPr>
              <a:t>Required for all students</a:t>
            </a:fld>
            <a:endParaRPr lang="en-US" sz="1600" dirty="0"/>
          </a:p>
        </p:txBody>
      </p:sp>
      <p:sp>
        <p:nvSpPr>
          <p:cNvPr id="186" name="Text Placeholder 3">
            <a:extLst>
              <a:ext uri="{FF2B5EF4-FFF2-40B4-BE49-F238E27FC236}">
                <a16:creationId xmlns:a16="http://schemas.microsoft.com/office/drawing/2014/main" id="{F082B8A5-BCDD-4D19-AEF4-9AC76926B100}"/>
              </a:ext>
            </a:extLst>
          </p:cNvPr>
          <p:cNvSpPr>
            <a:spLocks noGrp="1"/>
          </p:cNvSpPr>
          <p:nvPr>
            <p:custDataLst>
              <p:tags r:id="rId16"/>
            </p:custDataLst>
          </p:nvPr>
        </p:nvSpPr>
        <p:spPr bwMode="gray">
          <a:xfrm>
            <a:off x="5284788" y="4140200"/>
            <a:ext cx="676275"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0ADFA264-CE11-4EB2-870D-CF95D0364E28}" type="datetime'''''''''''''''1''''''0'''''''''''">
              <a:rPr lang="en-US" altLang="en-US" sz="1600" smtClean="0"/>
              <a:pPr/>
              <a:t>10</a:t>
            </a:fld>
            <a:r>
              <a:rPr lang="en-US" altLang="en-US" sz="1600">
                <a:effectLst/>
              </a:rPr>
              <a:t> (</a:t>
            </a:r>
            <a:fld id="{5156E651-65C3-41FD-94EA-92B2052B2BF0}" type="datetime'''''''''''''''3''''%'''''''''''''''''''''''''''''''">
              <a:rPr lang="en-US" altLang="en-US" sz="1600" smtClean="0">
                <a:effectLst/>
              </a:rPr>
              <a:pPr>
                <a:spcBef>
                  <a:spcPct val="0"/>
                </a:spcBef>
                <a:spcAft>
                  <a:spcPct val="0"/>
                </a:spcAft>
              </a:pPr>
              <a:t>3%</a:t>
            </a:fld>
            <a:r>
              <a:rPr lang="en-US" altLang="en-US" sz="1600">
                <a:effectLst/>
              </a:rPr>
              <a:t>)</a:t>
            </a:r>
            <a:endParaRPr lang="en-US" sz="1600" dirty="0"/>
          </a:p>
        </p:txBody>
      </p:sp>
      <p:sp>
        <p:nvSpPr>
          <p:cNvPr id="83" name="Text Placeholder 3">
            <a:extLst>
              <a:ext uri="{FF2B5EF4-FFF2-40B4-BE49-F238E27FC236}">
                <a16:creationId xmlns:a16="http://schemas.microsoft.com/office/drawing/2014/main" id="{820735DF-9259-4BBD-A2B7-1D4DDD00FB0D}"/>
              </a:ext>
            </a:extLst>
          </p:cNvPr>
          <p:cNvSpPr>
            <a:spLocks noGrp="1"/>
          </p:cNvSpPr>
          <p:nvPr>
            <p:custDataLst>
              <p:tags r:id="rId17"/>
            </p:custDataLst>
          </p:nvPr>
        </p:nvSpPr>
        <p:spPr bwMode="gray">
          <a:xfrm>
            <a:off x="1885951" y="5221288"/>
            <a:ext cx="207962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FAD3631B-20BF-4DF7-96ED-DBF468CB8F69}" type="datetime'''No res''''''pon''s''''e or u''''''''''''''nkno''''''wn'''">
              <a:rPr lang="en-US" altLang="en-US" sz="1600" smtClean="0"/>
              <a:pPr/>
              <a:t>No response or unknown</a:t>
            </a:fld>
            <a:endParaRPr lang="en-US" sz="1600" baseline="30000" dirty="0"/>
          </a:p>
        </p:txBody>
      </p:sp>
      <p:sp>
        <p:nvSpPr>
          <p:cNvPr id="215" name="Text Placeholder 3">
            <a:extLst>
              <a:ext uri="{FF2B5EF4-FFF2-40B4-BE49-F238E27FC236}">
                <a16:creationId xmlns:a16="http://schemas.microsoft.com/office/drawing/2014/main" id="{2953695B-760B-4C43-AC99-A3E8C9F022BE}"/>
              </a:ext>
            </a:extLst>
          </p:cNvPr>
          <p:cNvSpPr>
            <a:spLocks noGrp="1"/>
          </p:cNvSpPr>
          <p:nvPr>
            <p:custDataLst>
              <p:tags r:id="rId18"/>
            </p:custDataLst>
          </p:nvPr>
        </p:nvSpPr>
        <p:spPr bwMode="gray">
          <a:xfrm>
            <a:off x="5507038" y="4681538"/>
            <a:ext cx="676275"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C192B211-88A4-4D07-828B-6E0A688E1713}" type="datetime'''''''2''''''''''''''''''4'''''''''''''''''''''''''">
              <a:rPr lang="en-US" altLang="en-US" sz="1600" smtClean="0"/>
              <a:pPr/>
              <a:t>24</a:t>
            </a:fld>
            <a:r>
              <a:rPr lang="en-US" altLang="en-US" sz="1600">
                <a:effectLst/>
              </a:rPr>
              <a:t> (</a:t>
            </a:r>
            <a:fld id="{832111C2-4FD1-4F24-9E56-B6794D6C53C7}" type="datetime'''''''''''''''''''''''''8''''%'''''''''">
              <a:rPr lang="en-US" altLang="en-US" sz="1600" smtClean="0"/>
              <a:pPr/>
              <a:t>8%</a:t>
            </a:fld>
            <a:r>
              <a:rPr lang="en-US" sz="1600"/>
              <a:t>)</a:t>
            </a:r>
            <a:endParaRPr lang="en-US" sz="1600" dirty="0"/>
          </a:p>
        </p:txBody>
      </p:sp>
      <p:sp>
        <p:nvSpPr>
          <p:cNvPr id="82" name="Text Placeholder 3">
            <a:extLst>
              <a:ext uri="{FF2B5EF4-FFF2-40B4-BE49-F238E27FC236}">
                <a16:creationId xmlns:a16="http://schemas.microsoft.com/office/drawing/2014/main" id="{12CABB61-2338-4FE7-B02E-78735848CC3E}"/>
              </a:ext>
            </a:extLst>
          </p:cNvPr>
          <p:cNvSpPr>
            <a:spLocks noGrp="1"/>
          </p:cNvSpPr>
          <p:nvPr>
            <p:custDataLst>
              <p:tags r:id="rId19"/>
            </p:custDataLst>
          </p:nvPr>
        </p:nvSpPr>
        <p:spPr bwMode="gray">
          <a:xfrm>
            <a:off x="2719388" y="4681538"/>
            <a:ext cx="1246188"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26DB00A2-D841-4713-872A-4E62C03C736E}" type="datetime'''''N''o ''''''m''''''''a''sk'''' ''''p''o''''''l''ic''y'''">
              <a:rPr lang="en-US" altLang="en-US" sz="1600" smtClean="0">
                <a:effectLst/>
              </a:rPr>
              <a:pPr algn="r">
                <a:spcBef>
                  <a:spcPct val="0"/>
                </a:spcBef>
                <a:spcAft>
                  <a:spcPct val="0"/>
                </a:spcAft>
              </a:pPr>
              <a:t>No mask policy</a:t>
            </a:fld>
            <a:endParaRPr lang="en-US" sz="1600" dirty="0"/>
          </a:p>
        </p:txBody>
      </p:sp>
      <p:sp>
        <p:nvSpPr>
          <p:cNvPr id="203" name="Text Placeholder 3">
            <a:extLst>
              <a:ext uri="{FF2B5EF4-FFF2-40B4-BE49-F238E27FC236}">
                <a16:creationId xmlns:a16="http://schemas.microsoft.com/office/drawing/2014/main" id="{F55D906A-E9FC-48F0-8E26-17811F5F19AA}"/>
              </a:ext>
            </a:extLst>
          </p:cNvPr>
          <p:cNvSpPr>
            <a:spLocks noGrp="1"/>
          </p:cNvSpPr>
          <p:nvPr>
            <p:custDataLst>
              <p:tags r:id="rId20"/>
            </p:custDataLst>
          </p:nvPr>
        </p:nvSpPr>
        <p:spPr bwMode="gray">
          <a:xfrm>
            <a:off x="4830763" y="3059113"/>
            <a:ext cx="7794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9DC47AF1-92FB-4A7F-A934-587655956708}" type="datetime'''7''''''''''''''''''''6'''''''''''''''''''''''''''''''''">
              <a:rPr lang="en-US" altLang="en-US" sz="1600" smtClean="0"/>
              <a:pPr/>
              <a:t>76</a:t>
            </a:fld>
            <a:r>
              <a:rPr lang="en-US" altLang="en-US" sz="1600">
                <a:effectLst/>
              </a:rPr>
              <a:t> (</a:t>
            </a:r>
            <a:fld id="{DB91786B-DFD9-4841-BBBF-800BDE83AFB7}" type="datetime'''''''''''''''''''25''''%'''''''''''''''''''''''">
              <a:rPr lang="en-US" altLang="en-US" sz="1600" smtClean="0"/>
              <a:pPr/>
              <a:t>25%</a:t>
            </a:fld>
            <a:r>
              <a:rPr lang="en-US" altLang="en-US" sz="1600">
                <a:effectLst/>
              </a:rPr>
              <a:t>)</a:t>
            </a:r>
            <a:endParaRPr lang="en-US" sz="1600" dirty="0"/>
          </a:p>
        </p:txBody>
      </p:sp>
      <p:sp>
        <p:nvSpPr>
          <p:cNvPr id="216" name="Text Placeholder 3">
            <a:extLst>
              <a:ext uri="{FF2B5EF4-FFF2-40B4-BE49-F238E27FC236}">
                <a16:creationId xmlns:a16="http://schemas.microsoft.com/office/drawing/2014/main" id="{BB75ED27-F14F-4F61-99C3-25944F0E9133}"/>
              </a:ext>
            </a:extLst>
          </p:cNvPr>
          <p:cNvSpPr>
            <a:spLocks noGrp="1"/>
          </p:cNvSpPr>
          <p:nvPr>
            <p:custDataLst>
              <p:tags r:id="rId21"/>
            </p:custDataLst>
          </p:nvPr>
        </p:nvSpPr>
        <p:spPr bwMode="gray">
          <a:xfrm>
            <a:off x="5772150" y="5221288"/>
            <a:ext cx="882650"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19F48552-9232-46E1-85F7-E896BCC0FB5C}" type="datetime'''1''''''5''8'''''''''''''''''''''''">
              <a:rPr lang="en-US" altLang="en-US" sz="1600" smtClean="0">
                <a:solidFill>
                  <a:schemeClr val="bg1"/>
                </a:solidFill>
              </a:rPr>
              <a:pPr/>
              <a:t>158</a:t>
            </a:fld>
            <a:r>
              <a:rPr lang="en-US" altLang="en-US" sz="1600">
                <a:solidFill>
                  <a:schemeClr val="bg1"/>
                </a:solidFill>
                <a:effectLst/>
              </a:rPr>
              <a:t> (</a:t>
            </a:r>
            <a:fld id="{1D2F2C84-C1F2-46F3-A3DF-58F9612F87EB}" type="datetime'''''''''5''''''''''''''1''''%'''''''''''''''''''''">
              <a:rPr lang="en-US" altLang="en-US" sz="1600" smtClean="0">
                <a:solidFill>
                  <a:schemeClr val="bg1"/>
                </a:solidFill>
              </a:rPr>
              <a:pPr/>
              <a:t>51%</a:t>
            </a:fld>
            <a:r>
              <a:rPr lang="en-US" sz="1600">
                <a:solidFill>
                  <a:schemeClr val="bg1"/>
                </a:solidFill>
              </a:rPr>
              <a:t>)</a:t>
            </a:r>
            <a:endParaRPr lang="en-US" sz="1600" dirty="0">
              <a:solidFill>
                <a:schemeClr val="bg1"/>
              </a:solidFill>
            </a:endParaRPr>
          </a:p>
        </p:txBody>
      </p:sp>
      <p:sp>
        <p:nvSpPr>
          <p:cNvPr id="84" name="Text Placeholder 3">
            <a:extLst>
              <a:ext uri="{FF2B5EF4-FFF2-40B4-BE49-F238E27FC236}">
                <a16:creationId xmlns:a16="http://schemas.microsoft.com/office/drawing/2014/main" id="{04B391F1-02AC-42F8-A92B-48CD1473D2A0}"/>
              </a:ext>
            </a:extLst>
          </p:cNvPr>
          <p:cNvSpPr>
            <a:spLocks noGrp="1"/>
          </p:cNvSpPr>
          <p:nvPr>
            <p:custDataLst>
              <p:tags r:id="rId22"/>
            </p:custDataLst>
          </p:nvPr>
        </p:nvSpPr>
        <p:spPr bwMode="gray">
          <a:xfrm>
            <a:off x="3568700" y="5762625"/>
            <a:ext cx="396875"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r">
              <a:spcBef>
                <a:spcPct val="0"/>
              </a:spcBef>
              <a:spcAft>
                <a:spcPct val="0"/>
              </a:spcAft>
            </a:pPr>
            <a:fld id="{9C54AFB1-3E8A-4F33-99AD-996D7A4638B7}" type="datetime'''''''''T''''ota''''''''''''''''''''''''l'''''">
              <a:rPr lang="en-US" altLang="en-US" sz="1600" smtClean="0">
                <a:effectLst/>
              </a:rPr>
              <a:pPr algn="r">
                <a:spcBef>
                  <a:spcPct val="0"/>
                </a:spcBef>
                <a:spcAft>
                  <a:spcPct val="0"/>
                </a:spcAft>
              </a:pPr>
              <a:t>Total</a:t>
            </a:fld>
            <a:endParaRPr lang="en-US" sz="1600" dirty="0"/>
          </a:p>
        </p:txBody>
      </p:sp>
      <p:cxnSp>
        <p:nvCxnSpPr>
          <p:cNvPr id="91" name="Straight Connector 90">
            <a:extLst>
              <a:ext uri="{FF2B5EF4-FFF2-40B4-BE49-F238E27FC236}">
                <a16:creationId xmlns:a16="http://schemas.microsoft.com/office/drawing/2014/main" id="{DEDDAD5F-16D3-4C23-B6BC-0A1ABF0F7C57}"/>
              </a:ext>
            </a:extLst>
          </p:cNvPr>
          <p:cNvCxnSpPr/>
          <p:nvPr/>
        </p:nvCxnSpPr>
        <p:spPr>
          <a:xfrm>
            <a:off x="628650" y="3430295"/>
            <a:ext cx="10934700"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45269809-AA69-4C53-BE45-6D7442176922}"/>
              </a:ext>
            </a:extLst>
          </p:cNvPr>
          <p:cNvCxnSpPr/>
          <p:nvPr/>
        </p:nvCxnSpPr>
        <p:spPr>
          <a:xfrm>
            <a:off x="628650" y="4006806"/>
            <a:ext cx="10934700"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CE650778-A44F-45AB-8326-3E2E346DC2EB}"/>
              </a:ext>
            </a:extLst>
          </p:cNvPr>
          <p:cNvCxnSpPr/>
          <p:nvPr/>
        </p:nvCxnSpPr>
        <p:spPr>
          <a:xfrm>
            <a:off x="628650" y="4539981"/>
            <a:ext cx="10934700"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AD343CB6-FC31-4398-9B2B-77DD9814900D}"/>
              </a:ext>
            </a:extLst>
          </p:cNvPr>
          <p:cNvSpPr/>
          <p:nvPr/>
        </p:nvSpPr>
        <p:spPr>
          <a:xfrm>
            <a:off x="628650" y="2097743"/>
            <a:ext cx="3873500" cy="3877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dirty="0">
                <a:solidFill>
                  <a:srgbClr val="051934"/>
                </a:solidFill>
              </a:rPr>
              <a:t>Mask policy metrics</a:t>
            </a:r>
          </a:p>
          <a:p>
            <a:r>
              <a:rPr lang="en-US" sz="1400" i="1" dirty="0">
                <a:solidFill>
                  <a:srgbClr val="7F7F7F"/>
                </a:solidFill>
              </a:rPr>
              <a:t>As of 9/20</a:t>
            </a:r>
          </a:p>
        </p:txBody>
      </p:sp>
      <p:cxnSp>
        <p:nvCxnSpPr>
          <p:cNvPr id="100" name="Straight Connector 99">
            <a:extLst>
              <a:ext uri="{FF2B5EF4-FFF2-40B4-BE49-F238E27FC236}">
                <a16:creationId xmlns:a16="http://schemas.microsoft.com/office/drawing/2014/main" id="{57CCAF08-B528-44C3-9570-267675219872}"/>
              </a:ext>
            </a:extLst>
          </p:cNvPr>
          <p:cNvCxnSpPr>
            <a:cxnSpLocks/>
          </p:cNvCxnSpPr>
          <p:nvPr/>
        </p:nvCxnSpPr>
        <p:spPr>
          <a:xfrm flipV="1">
            <a:off x="4019550" y="2700383"/>
            <a:ext cx="3528643" cy="7301"/>
          </a:xfrm>
          <a:prstGeom prst="line">
            <a:avLst/>
          </a:prstGeom>
          <a:ln w="9525" cap="rnd" cmpd="sng" algn="ctr">
            <a:solidFill>
              <a:srgbClr val="051934"/>
            </a:solidFill>
            <a:prstDash val="solid"/>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A7CBEADA-B17F-4217-8D6D-E0024B245225}"/>
              </a:ext>
            </a:extLst>
          </p:cNvPr>
          <p:cNvSpPr/>
          <p:nvPr/>
        </p:nvSpPr>
        <p:spPr>
          <a:xfrm>
            <a:off x="5065907" y="2500945"/>
            <a:ext cx="1695059" cy="38779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51934"/>
                </a:solidFill>
              </a:rPr>
              <a:t>School Districts</a:t>
            </a:r>
            <a:r>
              <a:rPr lang="en-US" sz="1600" baseline="30000" dirty="0">
                <a:solidFill>
                  <a:srgbClr val="051934"/>
                </a:solidFill>
              </a:rPr>
              <a:t>1</a:t>
            </a:r>
          </a:p>
        </p:txBody>
      </p:sp>
      <p:cxnSp>
        <p:nvCxnSpPr>
          <p:cNvPr id="101" name="Straight Connector 100">
            <a:extLst>
              <a:ext uri="{FF2B5EF4-FFF2-40B4-BE49-F238E27FC236}">
                <a16:creationId xmlns:a16="http://schemas.microsoft.com/office/drawing/2014/main" id="{48579A1D-4EFE-43B5-84F4-6A1474889A45}"/>
              </a:ext>
            </a:extLst>
          </p:cNvPr>
          <p:cNvCxnSpPr>
            <a:cxnSpLocks/>
          </p:cNvCxnSpPr>
          <p:nvPr/>
        </p:nvCxnSpPr>
        <p:spPr>
          <a:xfrm>
            <a:off x="8188325" y="2700383"/>
            <a:ext cx="3285659" cy="13302"/>
          </a:xfrm>
          <a:prstGeom prst="line">
            <a:avLst/>
          </a:prstGeom>
          <a:ln w="9525" cap="rnd" cmpd="sng" algn="ctr">
            <a:solidFill>
              <a:srgbClr val="051934"/>
            </a:solidFill>
            <a:prstDash val="solid"/>
            <a:round/>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22BE07D6-FF8F-4E91-A10E-5FBFC9C062D7}"/>
              </a:ext>
            </a:extLst>
          </p:cNvPr>
          <p:cNvSpPr/>
          <p:nvPr/>
        </p:nvSpPr>
        <p:spPr>
          <a:xfrm>
            <a:off x="8707438" y="2483254"/>
            <a:ext cx="2329033" cy="38779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a:solidFill>
                  <a:srgbClr val="051934"/>
                </a:solidFill>
              </a:rPr>
              <a:t>Schoolkid population (K)</a:t>
            </a:r>
            <a:r>
              <a:rPr lang="en-US" sz="1600" baseline="30000" dirty="0">
                <a:solidFill>
                  <a:srgbClr val="051934"/>
                </a:solidFill>
              </a:rPr>
              <a:t>2</a:t>
            </a:r>
          </a:p>
        </p:txBody>
      </p:sp>
      <p:sp>
        <p:nvSpPr>
          <p:cNvPr id="118" name="NavigationTriangle">
            <a:extLst>
              <a:ext uri="{FF2B5EF4-FFF2-40B4-BE49-F238E27FC236}">
                <a16:creationId xmlns:a16="http://schemas.microsoft.com/office/drawing/2014/main" id="{9E1EA34E-C683-43F1-AE41-DE573C942599}"/>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119" name="Oval 118">
            <a:extLst>
              <a:ext uri="{FF2B5EF4-FFF2-40B4-BE49-F238E27FC236}">
                <a16:creationId xmlns:a16="http://schemas.microsoft.com/office/drawing/2014/main" id="{0EC15EBB-C428-4D5E-9060-D7CB0225C4A6}"/>
              </a:ext>
            </a:extLst>
          </p:cNvPr>
          <p:cNvSpPr/>
          <p:nvPr/>
        </p:nvSpPr>
        <p:spPr>
          <a:xfrm>
            <a:off x="11410390" y="217715"/>
            <a:ext cx="465935" cy="465935"/>
          </a:xfrm>
          <a:prstGeom prst="ellipse">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grpSp>
        <p:nvGrpSpPr>
          <p:cNvPr id="120" name="Group 119">
            <a:extLst>
              <a:ext uri="{FF2B5EF4-FFF2-40B4-BE49-F238E27FC236}">
                <a16:creationId xmlns:a16="http://schemas.microsoft.com/office/drawing/2014/main" id="{61A19173-0F12-4ECF-906B-49F19F855045}"/>
              </a:ext>
            </a:extLst>
          </p:cNvPr>
          <p:cNvGrpSpPr>
            <a:grpSpLocks noChangeAspect="1"/>
          </p:cNvGrpSpPr>
          <p:nvPr/>
        </p:nvGrpSpPr>
        <p:grpSpPr>
          <a:xfrm>
            <a:off x="11431208" y="260919"/>
            <a:ext cx="420101" cy="420101"/>
            <a:chOff x="1983582" y="2081213"/>
            <a:chExt cx="1647825" cy="1647825"/>
          </a:xfrm>
        </p:grpSpPr>
        <p:sp>
          <p:nvSpPr>
            <p:cNvPr id="121" name="AutoShape 6">
              <a:extLst>
                <a:ext uri="{FF2B5EF4-FFF2-40B4-BE49-F238E27FC236}">
                  <a16:creationId xmlns:a16="http://schemas.microsoft.com/office/drawing/2014/main" id="{725CCF86-50D3-479C-B05A-538B3665CAB0}"/>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2" name="Group 121">
              <a:extLst>
                <a:ext uri="{FF2B5EF4-FFF2-40B4-BE49-F238E27FC236}">
                  <a16:creationId xmlns:a16="http://schemas.microsoft.com/office/drawing/2014/main" id="{D3AB2D15-279D-414C-98A7-687F26806F07}"/>
                </a:ext>
              </a:extLst>
            </p:cNvPr>
            <p:cNvGrpSpPr/>
            <p:nvPr/>
          </p:nvGrpSpPr>
          <p:grpSpPr>
            <a:xfrm>
              <a:off x="2216945" y="2549526"/>
              <a:ext cx="1190625" cy="709612"/>
              <a:chOff x="2216945" y="2549526"/>
              <a:chExt cx="1190625" cy="709612"/>
            </a:xfrm>
          </p:grpSpPr>
          <p:sp>
            <p:nvSpPr>
              <p:cNvPr id="123" name="Freeform 8">
                <a:extLst>
                  <a:ext uri="{FF2B5EF4-FFF2-40B4-BE49-F238E27FC236}">
                    <a16:creationId xmlns:a16="http://schemas.microsoft.com/office/drawing/2014/main" id="{5CA2AF35-C510-4B97-9DB5-816ECB73FECE}"/>
                  </a:ext>
                </a:extLst>
              </p:cNvPr>
              <p:cNvSpPr>
                <a:spLocks noEditPoints="1"/>
              </p:cNvSpPr>
              <p:nvPr/>
            </p:nvSpPr>
            <p:spPr bwMode="auto">
              <a:xfrm>
                <a:off x="2388395" y="2624138"/>
                <a:ext cx="847725" cy="635000"/>
              </a:xfrm>
              <a:custGeom>
                <a:avLst/>
                <a:gdLst>
                  <a:gd name="T0" fmla="*/ 594 w 1185"/>
                  <a:gd name="T1" fmla="*/ 0 h 888"/>
                  <a:gd name="T2" fmla="*/ 0 w 1185"/>
                  <a:gd name="T3" fmla="*/ 117 h 888"/>
                  <a:gd name="T4" fmla="*/ 0 w 1185"/>
                  <a:gd name="T5" fmla="*/ 201 h 888"/>
                  <a:gd name="T6" fmla="*/ 594 w 1185"/>
                  <a:gd name="T7" fmla="*/ 124 h 888"/>
                  <a:gd name="T8" fmla="*/ 1185 w 1185"/>
                  <a:gd name="T9" fmla="*/ 200 h 888"/>
                  <a:gd name="T10" fmla="*/ 1185 w 1185"/>
                  <a:gd name="T11" fmla="*/ 116 h 888"/>
                  <a:gd name="T12" fmla="*/ 594 w 1185"/>
                  <a:gd name="T13" fmla="*/ 0 h 888"/>
                  <a:gd name="T14" fmla="*/ 0 w 1185"/>
                  <a:gd name="T15" fmla="*/ 688 h 888"/>
                  <a:gd name="T16" fmla="*/ 0 w 1185"/>
                  <a:gd name="T17" fmla="*/ 772 h 888"/>
                  <a:gd name="T18" fmla="*/ 592 w 1185"/>
                  <a:gd name="T19" fmla="*/ 888 h 888"/>
                  <a:gd name="T20" fmla="*/ 1185 w 1185"/>
                  <a:gd name="T21" fmla="*/ 771 h 888"/>
                  <a:gd name="T22" fmla="*/ 1185 w 1185"/>
                  <a:gd name="T23" fmla="*/ 688 h 888"/>
                  <a:gd name="T24" fmla="*/ 592 w 1185"/>
                  <a:gd name="T25" fmla="*/ 764 h 888"/>
                  <a:gd name="T26" fmla="*/ 0 w 1185"/>
                  <a:gd name="T27" fmla="*/ 68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5" h="888">
                    <a:moveTo>
                      <a:pt x="594" y="0"/>
                    </a:moveTo>
                    <a:cubicBezTo>
                      <a:pt x="370" y="0"/>
                      <a:pt x="164" y="44"/>
                      <a:pt x="0" y="117"/>
                    </a:cubicBezTo>
                    <a:cubicBezTo>
                      <a:pt x="0" y="201"/>
                      <a:pt x="0" y="201"/>
                      <a:pt x="0" y="201"/>
                    </a:cubicBezTo>
                    <a:cubicBezTo>
                      <a:pt x="164" y="153"/>
                      <a:pt x="370" y="124"/>
                      <a:pt x="594" y="124"/>
                    </a:cubicBezTo>
                    <a:cubicBezTo>
                      <a:pt x="816" y="124"/>
                      <a:pt x="1022" y="153"/>
                      <a:pt x="1185" y="200"/>
                    </a:cubicBezTo>
                    <a:cubicBezTo>
                      <a:pt x="1185" y="116"/>
                      <a:pt x="1185" y="116"/>
                      <a:pt x="1185" y="116"/>
                    </a:cubicBezTo>
                    <a:cubicBezTo>
                      <a:pt x="1022" y="44"/>
                      <a:pt x="816" y="0"/>
                      <a:pt x="594" y="0"/>
                    </a:cubicBezTo>
                    <a:close/>
                    <a:moveTo>
                      <a:pt x="0" y="688"/>
                    </a:moveTo>
                    <a:cubicBezTo>
                      <a:pt x="0" y="772"/>
                      <a:pt x="0" y="772"/>
                      <a:pt x="0" y="772"/>
                    </a:cubicBezTo>
                    <a:cubicBezTo>
                      <a:pt x="163" y="844"/>
                      <a:pt x="369" y="888"/>
                      <a:pt x="592" y="888"/>
                    </a:cubicBezTo>
                    <a:cubicBezTo>
                      <a:pt x="815" y="888"/>
                      <a:pt x="1021" y="844"/>
                      <a:pt x="1185" y="771"/>
                    </a:cubicBezTo>
                    <a:cubicBezTo>
                      <a:pt x="1185" y="688"/>
                      <a:pt x="1185" y="688"/>
                      <a:pt x="1185" y="688"/>
                    </a:cubicBezTo>
                    <a:cubicBezTo>
                      <a:pt x="1021" y="735"/>
                      <a:pt x="815" y="764"/>
                      <a:pt x="592" y="764"/>
                    </a:cubicBezTo>
                    <a:cubicBezTo>
                      <a:pt x="369" y="764"/>
                      <a:pt x="163" y="735"/>
                      <a:pt x="0" y="688"/>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24" name="Freeform 9">
                <a:extLst>
                  <a:ext uri="{FF2B5EF4-FFF2-40B4-BE49-F238E27FC236}">
                    <a16:creationId xmlns:a16="http://schemas.microsoft.com/office/drawing/2014/main" id="{D183F962-115F-4EF9-A397-FF75D50027B4}"/>
                  </a:ext>
                </a:extLst>
              </p:cNvPr>
              <p:cNvSpPr>
                <a:spLocks noEditPoints="1"/>
              </p:cNvSpPr>
              <p:nvPr/>
            </p:nvSpPr>
            <p:spPr bwMode="auto">
              <a:xfrm>
                <a:off x="2216945" y="2549526"/>
                <a:ext cx="1190625" cy="596900"/>
              </a:xfrm>
              <a:custGeom>
                <a:avLst/>
                <a:gdLst>
                  <a:gd name="T0" fmla="*/ 239 w 1665"/>
                  <a:gd name="T1" fmla="*/ 363 h 835"/>
                  <a:gd name="T2" fmla="*/ 239 w 1665"/>
                  <a:gd name="T3" fmla="*/ 422 h 835"/>
                  <a:gd name="T4" fmla="*/ 239 w 1665"/>
                  <a:gd name="T5" fmla="*/ 422 h 835"/>
                  <a:gd name="T6" fmla="*/ 239 w 1665"/>
                  <a:gd name="T7" fmla="*/ 671 h 835"/>
                  <a:gd name="T8" fmla="*/ 239 w 1665"/>
                  <a:gd name="T9" fmla="*/ 671 h 835"/>
                  <a:gd name="T10" fmla="*/ 239 w 1665"/>
                  <a:gd name="T11" fmla="*/ 732 h 835"/>
                  <a:gd name="T12" fmla="*/ 834 w 1665"/>
                  <a:gd name="T13" fmla="*/ 814 h 835"/>
                  <a:gd name="T14" fmla="*/ 1429 w 1665"/>
                  <a:gd name="T15" fmla="*/ 731 h 835"/>
                  <a:gd name="T16" fmla="*/ 1429 w 1665"/>
                  <a:gd name="T17" fmla="*/ 731 h 835"/>
                  <a:gd name="T18" fmla="*/ 1429 w 1665"/>
                  <a:gd name="T19" fmla="*/ 367 h 835"/>
                  <a:gd name="T20" fmla="*/ 1429 w 1665"/>
                  <a:gd name="T21" fmla="*/ 364 h 835"/>
                  <a:gd name="T22" fmla="*/ 834 w 1665"/>
                  <a:gd name="T23" fmla="*/ 280 h 835"/>
                  <a:gd name="T24" fmla="*/ 239 w 1665"/>
                  <a:gd name="T25" fmla="*/ 363 h 835"/>
                  <a:gd name="T26" fmla="*/ 1664 w 1665"/>
                  <a:gd name="T27" fmla="*/ 425 h 835"/>
                  <a:gd name="T28" fmla="*/ 1664 w 1665"/>
                  <a:gd name="T29" fmla="*/ 145 h 835"/>
                  <a:gd name="T30" fmla="*/ 1520 w 1665"/>
                  <a:gd name="T31" fmla="*/ 0 h 835"/>
                  <a:gd name="T32" fmla="*/ 1375 w 1665"/>
                  <a:gd name="T33" fmla="*/ 139 h 835"/>
                  <a:gd name="T34" fmla="*/ 1438 w 1665"/>
                  <a:gd name="T35" fmla="*/ 165 h 835"/>
                  <a:gd name="T36" fmla="*/ 1438 w 1665"/>
                  <a:gd name="T37" fmla="*/ 145 h 835"/>
                  <a:gd name="T38" fmla="*/ 1520 w 1665"/>
                  <a:gd name="T39" fmla="*/ 63 h 835"/>
                  <a:gd name="T40" fmla="*/ 1601 w 1665"/>
                  <a:gd name="T41" fmla="*/ 145 h 835"/>
                  <a:gd name="T42" fmla="*/ 1601 w 1665"/>
                  <a:gd name="T43" fmla="*/ 432 h 835"/>
                  <a:gd name="T44" fmla="*/ 1481 w 1665"/>
                  <a:gd name="T45" fmla="*/ 718 h 835"/>
                  <a:gd name="T46" fmla="*/ 1481 w 1665"/>
                  <a:gd name="T47" fmla="*/ 835 h 835"/>
                  <a:gd name="T48" fmla="*/ 1547 w 1665"/>
                  <a:gd name="T49" fmla="*/ 730 h 835"/>
                  <a:gd name="T50" fmla="*/ 1547 w 1665"/>
                  <a:gd name="T51" fmla="*/ 730 h 835"/>
                  <a:gd name="T52" fmla="*/ 1664 w 1665"/>
                  <a:gd name="T53" fmla="*/ 443 h 835"/>
                  <a:gd name="T54" fmla="*/ 1664 w 1665"/>
                  <a:gd name="T55" fmla="*/ 443 h 835"/>
                  <a:gd name="T56" fmla="*/ 1664 w 1665"/>
                  <a:gd name="T57" fmla="*/ 434 h 835"/>
                  <a:gd name="T58" fmla="*/ 1665 w 1665"/>
                  <a:gd name="T59" fmla="*/ 431 h 835"/>
                  <a:gd name="T60" fmla="*/ 1664 w 1665"/>
                  <a:gd name="T61" fmla="*/ 425 h 835"/>
                  <a:gd name="T62" fmla="*/ 291 w 1665"/>
                  <a:gd name="T63" fmla="*/ 139 h 835"/>
                  <a:gd name="T64" fmla="*/ 145 w 1665"/>
                  <a:gd name="T65" fmla="*/ 0 h 835"/>
                  <a:gd name="T66" fmla="*/ 1 w 1665"/>
                  <a:gd name="T67" fmla="*/ 145 h 835"/>
                  <a:gd name="T68" fmla="*/ 1 w 1665"/>
                  <a:gd name="T69" fmla="*/ 425 h 835"/>
                  <a:gd name="T70" fmla="*/ 0 w 1665"/>
                  <a:gd name="T71" fmla="*/ 431 h 835"/>
                  <a:gd name="T72" fmla="*/ 1 w 1665"/>
                  <a:gd name="T73" fmla="*/ 434 h 835"/>
                  <a:gd name="T74" fmla="*/ 1 w 1665"/>
                  <a:gd name="T75" fmla="*/ 443 h 835"/>
                  <a:gd name="T76" fmla="*/ 1 w 1665"/>
                  <a:gd name="T77" fmla="*/ 443 h 835"/>
                  <a:gd name="T78" fmla="*/ 118 w 1665"/>
                  <a:gd name="T79" fmla="*/ 730 h 835"/>
                  <a:gd name="T80" fmla="*/ 118 w 1665"/>
                  <a:gd name="T81" fmla="*/ 730 h 835"/>
                  <a:gd name="T82" fmla="*/ 184 w 1665"/>
                  <a:gd name="T83" fmla="*/ 835 h 835"/>
                  <a:gd name="T84" fmla="*/ 184 w 1665"/>
                  <a:gd name="T85" fmla="*/ 718 h 835"/>
                  <a:gd name="T86" fmla="*/ 64 w 1665"/>
                  <a:gd name="T87" fmla="*/ 432 h 835"/>
                  <a:gd name="T88" fmla="*/ 64 w 1665"/>
                  <a:gd name="T89" fmla="*/ 145 h 835"/>
                  <a:gd name="T90" fmla="*/ 145 w 1665"/>
                  <a:gd name="T91" fmla="*/ 63 h 835"/>
                  <a:gd name="T92" fmla="*/ 227 w 1665"/>
                  <a:gd name="T93" fmla="*/ 145 h 835"/>
                  <a:gd name="T94" fmla="*/ 227 w 1665"/>
                  <a:gd name="T95" fmla="*/ 165 h 835"/>
                  <a:gd name="T96" fmla="*/ 291 w 1665"/>
                  <a:gd name="T97" fmla="*/ 139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65" h="835">
                    <a:moveTo>
                      <a:pt x="239" y="363"/>
                    </a:moveTo>
                    <a:cubicBezTo>
                      <a:pt x="239" y="422"/>
                      <a:pt x="239" y="422"/>
                      <a:pt x="239" y="422"/>
                    </a:cubicBezTo>
                    <a:cubicBezTo>
                      <a:pt x="239" y="422"/>
                      <a:pt x="239" y="422"/>
                      <a:pt x="239" y="422"/>
                    </a:cubicBezTo>
                    <a:cubicBezTo>
                      <a:pt x="239" y="671"/>
                      <a:pt x="239" y="671"/>
                      <a:pt x="239" y="671"/>
                    </a:cubicBezTo>
                    <a:cubicBezTo>
                      <a:pt x="239" y="671"/>
                      <a:pt x="239" y="671"/>
                      <a:pt x="239" y="671"/>
                    </a:cubicBezTo>
                    <a:cubicBezTo>
                      <a:pt x="239" y="732"/>
                      <a:pt x="239" y="732"/>
                      <a:pt x="239" y="732"/>
                    </a:cubicBezTo>
                    <a:cubicBezTo>
                      <a:pt x="403" y="783"/>
                      <a:pt x="609" y="814"/>
                      <a:pt x="834" y="814"/>
                    </a:cubicBezTo>
                    <a:cubicBezTo>
                      <a:pt x="1058" y="814"/>
                      <a:pt x="1266" y="783"/>
                      <a:pt x="1429" y="731"/>
                    </a:cubicBezTo>
                    <a:cubicBezTo>
                      <a:pt x="1429" y="731"/>
                      <a:pt x="1429" y="731"/>
                      <a:pt x="1429" y="731"/>
                    </a:cubicBezTo>
                    <a:cubicBezTo>
                      <a:pt x="1429" y="367"/>
                      <a:pt x="1429" y="367"/>
                      <a:pt x="1429" y="367"/>
                    </a:cubicBezTo>
                    <a:cubicBezTo>
                      <a:pt x="1429" y="364"/>
                      <a:pt x="1429" y="364"/>
                      <a:pt x="1429" y="364"/>
                    </a:cubicBezTo>
                    <a:cubicBezTo>
                      <a:pt x="1266" y="311"/>
                      <a:pt x="1058" y="280"/>
                      <a:pt x="834" y="280"/>
                    </a:cubicBezTo>
                    <a:cubicBezTo>
                      <a:pt x="609" y="280"/>
                      <a:pt x="403" y="311"/>
                      <a:pt x="239" y="363"/>
                    </a:cubicBezTo>
                    <a:close/>
                    <a:moveTo>
                      <a:pt x="1664" y="425"/>
                    </a:moveTo>
                    <a:cubicBezTo>
                      <a:pt x="1664" y="145"/>
                      <a:pt x="1664" y="145"/>
                      <a:pt x="1664" y="145"/>
                    </a:cubicBezTo>
                    <a:cubicBezTo>
                      <a:pt x="1664" y="65"/>
                      <a:pt x="1599" y="0"/>
                      <a:pt x="1520" y="0"/>
                    </a:cubicBezTo>
                    <a:cubicBezTo>
                      <a:pt x="1441" y="0"/>
                      <a:pt x="1378" y="63"/>
                      <a:pt x="1375" y="139"/>
                    </a:cubicBezTo>
                    <a:cubicBezTo>
                      <a:pt x="1397" y="147"/>
                      <a:pt x="1418" y="156"/>
                      <a:pt x="1438" y="165"/>
                    </a:cubicBezTo>
                    <a:cubicBezTo>
                      <a:pt x="1438" y="145"/>
                      <a:pt x="1438" y="145"/>
                      <a:pt x="1438" y="145"/>
                    </a:cubicBezTo>
                    <a:cubicBezTo>
                      <a:pt x="1438" y="99"/>
                      <a:pt x="1474" y="63"/>
                      <a:pt x="1520" y="63"/>
                    </a:cubicBezTo>
                    <a:cubicBezTo>
                      <a:pt x="1565" y="63"/>
                      <a:pt x="1601" y="99"/>
                      <a:pt x="1601" y="145"/>
                    </a:cubicBezTo>
                    <a:cubicBezTo>
                      <a:pt x="1601" y="432"/>
                      <a:pt x="1601" y="432"/>
                      <a:pt x="1601" y="432"/>
                    </a:cubicBezTo>
                    <a:cubicBezTo>
                      <a:pt x="1593" y="529"/>
                      <a:pt x="1481" y="718"/>
                      <a:pt x="1481" y="718"/>
                    </a:cubicBezTo>
                    <a:cubicBezTo>
                      <a:pt x="1481" y="835"/>
                      <a:pt x="1481" y="835"/>
                      <a:pt x="1481" y="835"/>
                    </a:cubicBezTo>
                    <a:cubicBezTo>
                      <a:pt x="1500" y="805"/>
                      <a:pt x="1536" y="747"/>
                      <a:pt x="1547" y="730"/>
                    </a:cubicBezTo>
                    <a:cubicBezTo>
                      <a:pt x="1547" y="730"/>
                      <a:pt x="1547" y="730"/>
                      <a:pt x="1547" y="730"/>
                    </a:cubicBezTo>
                    <a:cubicBezTo>
                      <a:pt x="1587" y="661"/>
                      <a:pt x="1653" y="542"/>
                      <a:pt x="1664" y="443"/>
                    </a:cubicBezTo>
                    <a:cubicBezTo>
                      <a:pt x="1664" y="443"/>
                      <a:pt x="1664" y="443"/>
                      <a:pt x="1664" y="443"/>
                    </a:cubicBezTo>
                    <a:cubicBezTo>
                      <a:pt x="1664" y="434"/>
                      <a:pt x="1664" y="434"/>
                      <a:pt x="1664" y="434"/>
                    </a:cubicBezTo>
                    <a:cubicBezTo>
                      <a:pt x="1664" y="433"/>
                      <a:pt x="1665" y="432"/>
                      <a:pt x="1665" y="431"/>
                    </a:cubicBezTo>
                    <a:cubicBezTo>
                      <a:pt x="1665" y="429"/>
                      <a:pt x="1665" y="427"/>
                      <a:pt x="1664" y="425"/>
                    </a:cubicBezTo>
                    <a:close/>
                    <a:moveTo>
                      <a:pt x="291" y="139"/>
                    </a:moveTo>
                    <a:cubicBezTo>
                      <a:pt x="288" y="63"/>
                      <a:pt x="224" y="0"/>
                      <a:pt x="145" y="0"/>
                    </a:cubicBezTo>
                    <a:cubicBezTo>
                      <a:pt x="66" y="0"/>
                      <a:pt x="1" y="65"/>
                      <a:pt x="1" y="145"/>
                    </a:cubicBezTo>
                    <a:cubicBezTo>
                      <a:pt x="1" y="425"/>
                      <a:pt x="1" y="425"/>
                      <a:pt x="1" y="425"/>
                    </a:cubicBezTo>
                    <a:cubicBezTo>
                      <a:pt x="0" y="427"/>
                      <a:pt x="0" y="429"/>
                      <a:pt x="0" y="431"/>
                    </a:cubicBezTo>
                    <a:cubicBezTo>
                      <a:pt x="0" y="432"/>
                      <a:pt x="1" y="433"/>
                      <a:pt x="1" y="434"/>
                    </a:cubicBezTo>
                    <a:cubicBezTo>
                      <a:pt x="1" y="443"/>
                      <a:pt x="1" y="443"/>
                      <a:pt x="1" y="443"/>
                    </a:cubicBezTo>
                    <a:cubicBezTo>
                      <a:pt x="1" y="443"/>
                      <a:pt x="1" y="443"/>
                      <a:pt x="1" y="443"/>
                    </a:cubicBezTo>
                    <a:cubicBezTo>
                      <a:pt x="12" y="542"/>
                      <a:pt x="78" y="661"/>
                      <a:pt x="118" y="730"/>
                    </a:cubicBezTo>
                    <a:cubicBezTo>
                      <a:pt x="118" y="730"/>
                      <a:pt x="118" y="730"/>
                      <a:pt x="118" y="730"/>
                    </a:cubicBezTo>
                    <a:cubicBezTo>
                      <a:pt x="129" y="747"/>
                      <a:pt x="165" y="805"/>
                      <a:pt x="184" y="835"/>
                    </a:cubicBezTo>
                    <a:cubicBezTo>
                      <a:pt x="184" y="718"/>
                      <a:pt x="184" y="718"/>
                      <a:pt x="184" y="718"/>
                    </a:cubicBezTo>
                    <a:cubicBezTo>
                      <a:pt x="184" y="718"/>
                      <a:pt x="72" y="529"/>
                      <a:pt x="64" y="432"/>
                    </a:cubicBezTo>
                    <a:cubicBezTo>
                      <a:pt x="64" y="145"/>
                      <a:pt x="64" y="145"/>
                      <a:pt x="64" y="145"/>
                    </a:cubicBezTo>
                    <a:cubicBezTo>
                      <a:pt x="64" y="99"/>
                      <a:pt x="100" y="63"/>
                      <a:pt x="145" y="63"/>
                    </a:cubicBezTo>
                    <a:cubicBezTo>
                      <a:pt x="191" y="63"/>
                      <a:pt x="227" y="99"/>
                      <a:pt x="227" y="145"/>
                    </a:cubicBezTo>
                    <a:cubicBezTo>
                      <a:pt x="227" y="165"/>
                      <a:pt x="227" y="165"/>
                      <a:pt x="227" y="165"/>
                    </a:cubicBezTo>
                    <a:cubicBezTo>
                      <a:pt x="248" y="156"/>
                      <a:pt x="269" y="147"/>
                      <a:pt x="291" y="139"/>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endParaRPr lang="en-US" dirty="0"/>
              </a:p>
            </p:txBody>
          </p:sp>
        </p:grpSp>
      </p:grpSp>
      <p:cxnSp>
        <p:nvCxnSpPr>
          <p:cNvPr id="69" name="Straight Connector 68">
            <a:extLst>
              <a:ext uri="{FF2B5EF4-FFF2-40B4-BE49-F238E27FC236}">
                <a16:creationId xmlns:a16="http://schemas.microsoft.com/office/drawing/2014/main" id="{6DDFB139-A7DE-468C-9146-17E2431C3FB9}"/>
              </a:ext>
            </a:extLst>
          </p:cNvPr>
          <p:cNvCxnSpPr/>
          <p:nvPr/>
        </p:nvCxnSpPr>
        <p:spPr>
          <a:xfrm>
            <a:off x="617075" y="5063944"/>
            <a:ext cx="10934700"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14EF1F79-3C93-459C-BF13-B57E28B1A3A0}"/>
              </a:ext>
            </a:extLst>
          </p:cNvPr>
          <p:cNvCxnSpPr/>
          <p:nvPr/>
        </p:nvCxnSpPr>
        <p:spPr>
          <a:xfrm>
            <a:off x="629253" y="5628291"/>
            <a:ext cx="10934700"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5E06CA96-FA5F-46C1-9C26-A991FEAC100A}"/>
              </a:ext>
            </a:extLst>
          </p:cNvPr>
          <p:cNvCxnSpPr/>
          <p:nvPr>
            <p:custDataLst>
              <p:tags r:id="rId23"/>
            </p:custDataLst>
          </p:nvPr>
        </p:nvCxnSpPr>
        <p:spPr bwMode="gray">
          <a:xfrm>
            <a:off x="8709025" y="3362325"/>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E01C4C74-6650-4135-8C34-A45C5F3580DF}"/>
              </a:ext>
            </a:extLst>
          </p:cNvPr>
          <p:cNvCxnSpPr/>
          <p:nvPr>
            <p:custDataLst>
              <p:tags r:id="rId24"/>
            </p:custDataLst>
          </p:nvPr>
        </p:nvCxnSpPr>
        <p:spPr bwMode="gray">
          <a:xfrm>
            <a:off x="9671050" y="3902075"/>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9E890ED1-E6F1-4C14-B727-64FAB67EBAD9}"/>
              </a:ext>
            </a:extLst>
          </p:cNvPr>
          <p:cNvCxnSpPr/>
          <p:nvPr>
            <p:custDataLst>
              <p:tags r:id="rId25"/>
            </p:custDataLst>
          </p:nvPr>
        </p:nvCxnSpPr>
        <p:spPr bwMode="gray">
          <a:xfrm>
            <a:off x="9831388" y="4443413"/>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FA97382C-1382-44C8-9EF7-4D98986F042D}"/>
              </a:ext>
            </a:extLst>
          </p:cNvPr>
          <p:cNvCxnSpPr/>
          <p:nvPr>
            <p:custDataLst>
              <p:tags r:id="rId26"/>
            </p:custDataLst>
          </p:nvPr>
        </p:nvCxnSpPr>
        <p:spPr bwMode="gray">
          <a:xfrm>
            <a:off x="9926638" y="4984750"/>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8704FF7-A39D-4A91-9756-7839A222AD21}"/>
              </a:ext>
            </a:extLst>
          </p:cNvPr>
          <p:cNvCxnSpPr/>
          <p:nvPr>
            <p:custDataLst>
              <p:tags r:id="rId27"/>
            </p:custDataLst>
          </p:nvPr>
        </p:nvCxnSpPr>
        <p:spPr bwMode="gray">
          <a:xfrm>
            <a:off x="10907713" y="5524500"/>
            <a:ext cx="0" cy="201613"/>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03" name="Chart 102">
            <a:extLst>
              <a:ext uri="{FF2B5EF4-FFF2-40B4-BE49-F238E27FC236}">
                <a16:creationId xmlns:a16="http://schemas.microsoft.com/office/drawing/2014/main" id="{44F625E3-BDF8-47E6-91B6-4DA7D50307AC}"/>
              </a:ext>
            </a:extLst>
          </p:cNvPr>
          <p:cNvGraphicFramePr/>
          <p:nvPr>
            <p:custDataLst>
              <p:tags r:id="rId28"/>
            </p:custDataLst>
          </p:nvPr>
        </p:nvGraphicFramePr>
        <p:xfrm>
          <a:off x="8188325" y="2840038"/>
          <a:ext cx="2801938" cy="3409950"/>
        </p:xfrm>
        <a:graphic>
          <a:graphicData uri="http://schemas.openxmlformats.org/drawingml/2006/chart">
            <c:chart xmlns:c="http://schemas.openxmlformats.org/drawingml/2006/chart" xmlns:r="http://schemas.openxmlformats.org/officeDocument/2006/relationships" r:id="rId42"/>
          </a:graphicData>
        </a:graphic>
      </p:graphicFrame>
      <p:cxnSp>
        <p:nvCxnSpPr>
          <p:cNvPr id="227" name="Straight Connector 226">
            <a:extLst>
              <a:ext uri="{FF2B5EF4-FFF2-40B4-BE49-F238E27FC236}">
                <a16:creationId xmlns:a16="http://schemas.microsoft.com/office/drawing/2014/main" id="{827E52FE-F3DD-48C6-BF0C-98EFEB3CC4F3}"/>
              </a:ext>
            </a:extLst>
          </p:cNvPr>
          <p:cNvCxnSpPr/>
          <p:nvPr>
            <p:custDataLst>
              <p:tags r:id="rId29"/>
            </p:custDataLst>
          </p:nvPr>
        </p:nvCxnSpPr>
        <p:spPr bwMode="gray">
          <a:xfrm flipH="1">
            <a:off x="8632825" y="3192463"/>
            <a:ext cx="101600"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B67BB9FB-4FD5-401F-A10B-3A5007621276}"/>
              </a:ext>
            </a:extLst>
          </p:cNvPr>
          <p:cNvCxnSpPr/>
          <p:nvPr>
            <p:custDataLst>
              <p:tags r:id="rId30"/>
            </p:custDataLst>
          </p:nvPr>
        </p:nvCxnSpPr>
        <p:spPr bwMode="gray">
          <a:xfrm flipH="1">
            <a:off x="9879014" y="4814888"/>
            <a:ext cx="73025"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416AE1D0-60EF-4449-AC9C-103209414CAA}"/>
              </a:ext>
            </a:extLst>
          </p:cNvPr>
          <p:cNvCxnSpPr/>
          <p:nvPr>
            <p:custDataLst>
              <p:tags r:id="rId31"/>
            </p:custDataLst>
          </p:nvPr>
        </p:nvCxnSpPr>
        <p:spPr bwMode="gray">
          <a:xfrm flipH="1">
            <a:off x="9755188" y="4273550"/>
            <a:ext cx="101600" cy="0"/>
          </a:xfrm>
          <a:prstGeom prst="line">
            <a:avLst/>
          </a:prstGeom>
          <a:ln w="6350" cap="flat" cmpd="sng" algn="ctr">
            <a:solidFill>
              <a:srgbClr val="ADADA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9" name="Text Placeholder 3">
            <a:extLst>
              <a:ext uri="{FF2B5EF4-FFF2-40B4-BE49-F238E27FC236}">
                <a16:creationId xmlns:a16="http://schemas.microsoft.com/office/drawing/2014/main" id="{17860F95-8EAA-4E8A-8BF5-85F880D5402C}"/>
              </a:ext>
            </a:extLst>
          </p:cNvPr>
          <p:cNvSpPr>
            <a:spLocks noGrp="1"/>
          </p:cNvSpPr>
          <p:nvPr>
            <p:custDataLst>
              <p:tags r:id="rId32"/>
            </p:custDataLst>
          </p:nvPr>
        </p:nvSpPr>
        <p:spPr bwMode="gray">
          <a:xfrm>
            <a:off x="9856788" y="4140200"/>
            <a:ext cx="676275"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7BCA1B9D-B3D1-4502-A0D1-C754EDB98298}" type="datetime'''''''''''''''''''''''''''3''''''''''''''''''0'''''''''''">
              <a:rPr lang="en-US" altLang="en-US" sz="1600" smtClean="0"/>
              <a:pPr/>
              <a:t>30</a:t>
            </a:fld>
            <a:r>
              <a:rPr lang="en-US" altLang="en-US" sz="1600">
                <a:effectLst/>
              </a:rPr>
              <a:t> (</a:t>
            </a:r>
            <a:fld id="{B700BF66-781C-484D-94DC-7A8A099F4B93}" type="datetime'6%'''''''''''''''''''''''''''''''''''''''''''''">
              <a:rPr lang="en-US" altLang="en-US" sz="1600" smtClean="0"/>
              <a:pPr/>
              <a:t>6%</a:t>
            </a:fld>
            <a:r>
              <a:rPr lang="en-US" altLang="en-US" sz="1600">
                <a:effectLst/>
              </a:rPr>
              <a:t>)</a:t>
            </a:r>
            <a:endParaRPr lang="en-US" sz="1600" dirty="0"/>
          </a:p>
        </p:txBody>
      </p:sp>
      <p:sp>
        <p:nvSpPr>
          <p:cNvPr id="139" name="Text Placeholder 3">
            <a:extLst>
              <a:ext uri="{FF2B5EF4-FFF2-40B4-BE49-F238E27FC236}">
                <a16:creationId xmlns:a16="http://schemas.microsoft.com/office/drawing/2014/main" id="{3AE509E1-D3FB-4678-9BAC-CD498E26E1E3}"/>
              </a:ext>
            </a:extLst>
          </p:cNvPr>
          <p:cNvSpPr>
            <a:spLocks noGrp="1"/>
          </p:cNvSpPr>
          <p:nvPr>
            <p:custDataLst>
              <p:tags r:id="rId33"/>
            </p:custDataLst>
          </p:nvPr>
        </p:nvSpPr>
        <p:spPr bwMode="gray">
          <a:xfrm>
            <a:off x="8734425" y="3059113"/>
            <a:ext cx="779463"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AD28AC01-24DD-4341-8452-619A7A0B287A}" type="datetime'''''''''''''''''''''''''''8''''''''''2'''''''''''''''''">
              <a:rPr lang="en-US" altLang="en-US" sz="1600" smtClean="0"/>
              <a:pPr/>
              <a:t>82</a:t>
            </a:fld>
            <a:r>
              <a:rPr lang="en-US" altLang="en-US" sz="1600"/>
              <a:t> (</a:t>
            </a:r>
            <a:fld id="{19D255CB-4650-4223-919D-63C5AAB5A3C1}" type="datetime'''''''''''''17''''''''''''''''''''''%'''''''''">
              <a:rPr lang="en-US" altLang="en-US" sz="1600" smtClean="0"/>
              <a:pPr/>
              <a:t>17%</a:t>
            </a:fld>
            <a:r>
              <a:rPr lang="en-US" altLang="en-US" sz="1600"/>
              <a:t>)</a:t>
            </a:r>
            <a:endParaRPr lang="en-US" sz="1600" dirty="0"/>
          </a:p>
        </p:txBody>
      </p:sp>
      <p:sp>
        <p:nvSpPr>
          <p:cNvPr id="111" name="Text Placeholder 3">
            <a:extLst>
              <a:ext uri="{FF2B5EF4-FFF2-40B4-BE49-F238E27FC236}">
                <a16:creationId xmlns:a16="http://schemas.microsoft.com/office/drawing/2014/main" id="{C5E538A9-7B1F-498C-BDBD-8E7ED22A7E20}"/>
              </a:ext>
            </a:extLst>
          </p:cNvPr>
          <p:cNvSpPr>
            <a:spLocks noGrp="1"/>
          </p:cNvSpPr>
          <p:nvPr>
            <p:custDataLst>
              <p:tags r:id="rId34"/>
            </p:custDataLst>
          </p:nvPr>
        </p:nvSpPr>
        <p:spPr bwMode="gray">
          <a:xfrm>
            <a:off x="9952038" y="4681538"/>
            <a:ext cx="676275"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spcBef>
                <a:spcPct val="0"/>
              </a:spcBef>
              <a:spcAft>
                <a:spcPct val="0"/>
              </a:spcAft>
            </a:pPr>
            <a:fld id="{328F5EBF-5E85-4729-97B8-0BC74E293A68}" type="datetime'''''''''''''''''''''''''''''''''''1''''''''''8'''''''">
              <a:rPr lang="en-US" altLang="en-US" sz="1600" smtClean="0"/>
              <a:pPr/>
              <a:t>18</a:t>
            </a:fld>
            <a:r>
              <a:rPr lang="en-US" altLang="en-US" sz="1600">
                <a:effectLst/>
              </a:rPr>
              <a:t> (</a:t>
            </a:r>
            <a:fld id="{87AB64DF-F276-4A30-BD8A-896ED7BB61CE}" type="datetime'''''''''''''''''''''''''''''''''''''''''''''''4''%'''''''''">
              <a:rPr lang="en-US" altLang="en-US" sz="1600" smtClean="0"/>
              <a:pPr/>
              <a:t>4%</a:t>
            </a:fld>
            <a:r>
              <a:rPr lang="en-US" altLang="en-US" sz="1600">
                <a:effectLst/>
              </a:rPr>
              <a:t>)</a:t>
            </a:r>
            <a:endParaRPr lang="en-US" sz="1600" dirty="0"/>
          </a:p>
        </p:txBody>
      </p:sp>
      <p:sp>
        <p:nvSpPr>
          <p:cNvPr id="133" name="Text Placeholder 3">
            <a:extLst>
              <a:ext uri="{FF2B5EF4-FFF2-40B4-BE49-F238E27FC236}">
                <a16:creationId xmlns:a16="http://schemas.microsoft.com/office/drawing/2014/main" id="{A53EEB8D-96D3-4EA5-9C84-BEDE59DACC06}"/>
              </a:ext>
            </a:extLst>
          </p:cNvPr>
          <p:cNvSpPr>
            <a:spLocks noGrp="1"/>
          </p:cNvSpPr>
          <p:nvPr>
            <p:custDataLst>
              <p:tags r:id="rId35"/>
            </p:custDataLst>
          </p:nvPr>
        </p:nvSpPr>
        <p:spPr bwMode="gray">
          <a:xfrm>
            <a:off x="8748713" y="3598863"/>
            <a:ext cx="882650"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81DC72EA-C7A0-415E-B057-2BA789EC272C}" type="datetime'''''''''''''''''''''1''''''''''''''''''''''''''7''9'''''''">
              <a:rPr lang="en-US" altLang="en-US" sz="1600" smtClean="0">
                <a:solidFill>
                  <a:schemeClr val="bg1"/>
                </a:solidFill>
              </a:rPr>
              <a:pPr/>
              <a:t>179</a:t>
            </a:fld>
            <a:r>
              <a:rPr lang="en-US" altLang="en-US" sz="1600">
                <a:solidFill>
                  <a:schemeClr val="bg1"/>
                </a:solidFill>
                <a:effectLst/>
              </a:rPr>
              <a:t> (</a:t>
            </a:r>
            <a:fld id="{7A07F098-CB76-412A-A302-A1AD2C64F3D0}" type="datetime'3''7''%'''''''''''''''''''''''''''">
              <a:rPr lang="en-US" altLang="en-US" sz="1600" smtClean="0">
                <a:solidFill>
                  <a:schemeClr val="bg1"/>
                </a:solidFill>
                <a:effectLst/>
              </a:rPr>
              <a:pPr/>
              <a:t>37%</a:t>
            </a:fld>
            <a:r>
              <a:rPr lang="en-US" altLang="en-US" sz="1600">
                <a:solidFill>
                  <a:schemeClr val="bg1"/>
                </a:solidFill>
                <a:effectLst/>
              </a:rPr>
              <a:t>)</a:t>
            </a:r>
            <a:endParaRPr lang="en-US" sz="1600" dirty="0">
              <a:solidFill>
                <a:schemeClr val="bg1"/>
              </a:solidFill>
            </a:endParaRPr>
          </a:p>
        </p:txBody>
      </p:sp>
      <p:sp>
        <p:nvSpPr>
          <p:cNvPr id="136" name="Text Placeholder 3">
            <a:extLst>
              <a:ext uri="{FF2B5EF4-FFF2-40B4-BE49-F238E27FC236}">
                <a16:creationId xmlns:a16="http://schemas.microsoft.com/office/drawing/2014/main" id="{70703458-1F91-4A9D-90E1-DC67C4E7D8BC}"/>
              </a:ext>
            </a:extLst>
          </p:cNvPr>
          <p:cNvSpPr>
            <a:spLocks noGrp="1"/>
          </p:cNvSpPr>
          <p:nvPr>
            <p:custDataLst>
              <p:tags r:id="rId36"/>
            </p:custDataLst>
          </p:nvPr>
        </p:nvSpPr>
        <p:spPr bwMode="gray">
          <a:xfrm>
            <a:off x="9975850" y="5221288"/>
            <a:ext cx="882650" cy="268288"/>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C4B8D3D2-B258-4DB5-80EF-22154DFBB0D7}" type="datetime'1''8''3'''">
              <a:rPr lang="en-US" altLang="en-US" sz="1600" smtClean="0">
                <a:solidFill>
                  <a:schemeClr val="bg1"/>
                </a:solidFill>
                <a:effectLst/>
              </a:rPr>
              <a:pPr/>
              <a:t>183</a:t>
            </a:fld>
            <a:r>
              <a:rPr lang="en-US" altLang="en-US" sz="1600">
                <a:solidFill>
                  <a:schemeClr val="bg1"/>
                </a:solidFill>
              </a:rPr>
              <a:t> (</a:t>
            </a:r>
            <a:fld id="{382676CA-225F-4EEF-9D40-084F725CCEA6}" type="datetime'''''''''3''''7''''''''''%'''''''''">
              <a:rPr lang="en-US" altLang="en-US" sz="1600" smtClean="0">
                <a:solidFill>
                  <a:schemeClr val="bg1"/>
                </a:solidFill>
                <a:effectLst/>
              </a:rPr>
              <a:pPr/>
              <a:t>37%</a:t>
            </a:fld>
            <a:r>
              <a:rPr lang="en-US" altLang="en-US" sz="1600">
                <a:solidFill>
                  <a:schemeClr val="bg1"/>
                </a:solidFill>
              </a:rPr>
              <a:t>)</a:t>
            </a:r>
            <a:endParaRPr lang="en-US" sz="1600" dirty="0">
              <a:solidFill>
                <a:schemeClr val="bg1"/>
              </a:solidFill>
            </a:endParaRPr>
          </a:p>
        </p:txBody>
      </p:sp>
      <p:sp>
        <p:nvSpPr>
          <p:cNvPr id="137" name="Text Placeholder 3">
            <a:extLst>
              <a:ext uri="{FF2B5EF4-FFF2-40B4-BE49-F238E27FC236}">
                <a16:creationId xmlns:a16="http://schemas.microsoft.com/office/drawing/2014/main" id="{F261E653-1154-4A4D-8AD1-D766AC67FF57}"/>
              </a:ext>
            </a:extLst>
          </p:cNvPr>
          <p:cNvSpPr>
            <a:spLocks noGrp="1"/>
          </p:cNvSpPr>
          <p:nvPr>
            <p:custDataLst>
              <p:tags r:id="rId37"/>
            </p:custDataLst>
          </p:nvPr>
        </p:nvSpPr>
        <p:spPr bwMode="gray">
          <a:xfrm>
            <a:off x="9409113" y="5762625"/>
            <a:ext cx="360363" cy="268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algn="ctr">
              <a:spcBef>
                <a:spcPct val="0"/>
              </a:spcBef>
              <a:spcAft>
                <a:spcPct val="0"/>
              </a:spcAft>
            </a:pPr>
            <a:fld id="{F9E33C4F-F471-465F-B17D-21CBD7EA3D86}" type="datetime'''''''''4''''9''''''''''1'''''''">
              <a:rPr lang="en-US" altLang="en-US" sz="1600" smtClean="0">
                <a:solidFill>
                  <a:schemeClr val="bg1"/>
                </a:solidFill>
              </a:rPr>
              <a:pPr/>
              <a:t>491</a:t>
            </a:fld>
            <a:endParaRPr lang="en-US" sz="1600" dirty="0">
              <a:solidFill>
                <a:schemeClr val="bg1"/>
              </a:solidFill>
            </a:endParaRPr>
          </a:p>
        </p:txBody>
      </p:sp>
      <p:sp>
        <p:nvSpPr>
          <p:cNvPr id="143" name="ee4pFootnotes">
            <a:extLst>
              <a:ext uri="{FF2B5EF4-FFF2-40B4-BE49-F238E27FC236}">
                <a16:creationId xmlns:a16="http://schemas.microsoft.com/office/drawing/2014/main" id="{FAAD5E10-6F20-4F8B-B2EE-6DEFE5744C9E}"/>
              </a:ext>
            </a:extLst>
          </p:cNvPr>
          <p:cNvSpPr>
            <a:spLocks noChangeArrowheads="1"/>
          </p:cNvSpPr>
          <p:nvPr/>
        </p:nvSpPr>
        <p:spPr bwMode="auto">
          <a:xfrm>
            <a:off x="667193" y="6182448"/>
            <a:ext cx="10192895"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sym typeface="+mn-lt"/>
              </a:rPr>
              <a:t>1. Includes results submitted by 10 individual schools outside of Public School system (e.g. Catholic schools, other private schools), 2. Numbers only include Public School children (286 schools), excluding ~26K children total; those private-school children also excluded from total bar</a:t>
            </a:r>
            <a:br>
              <a:rPr lang="en-US" sz="1000" dirty="0">
                <a:solidFill>
                  <a:schemeClr val="bg1">
                    <a:lumMod val="50000"/>
                  </a:schemeClr>
                </a:solidFill>
                <a:sym typeface="+mn-lt"/>
              </a:rPr>
            </a:br>
            <a:r>
              <a:rPr lang="en-US" sz="1000" dirty="0">
                <a:solidFill>
                  <a:schemeClr val="bg1">
                    <a:lumMod val="50000"/>
                  </a:schemeClr>
                </a:solidFill>
                <a:sym typeface="+mn-lt"/>
              </a:rPr>
              <a:t>Question text: What is your district's mask policy for students? Answers, top to bottom: Masks are encouraged but not required for students; Masks are required for all students; Masks are required for most, but not all students; No mask policy at this time</a:t>
            </a:r>
          </a:p>
        </p:txBody>
      </p:sp>
      <p:sp>
        <p:nvSpPr>
          <p:cNvPr id="99" name="Rectangle 98">
            <a:extLst>
              <a:ext uri="{FF2B5EF4-FFF2-40B4-BE49-F238E27FC236}">
                <a16:creationId xmlns:a16="http://schemas.microsoft.com/office/drawing/2014/main" id="{08E552BD-99D2-4773-ABE6-598F2D6A7ECA}"/>
              </a:ext>
            </a:extLst>
          </p:cNvPr>
          <p:cNvSpPr/>
          <p:nvPr/>
        </p:nvSpPr>
        <p:spPr>
          <a:xfrm>
            <a:off x="7018829" y="3001014"/>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3</a:t>
            </a:r>
          </a:p>
          <a:p>
            <a:pPr algn="ctr"/>
            <a:r>
              <a:rPr lang="en-US" sz="1200" dirty="0">
                <a:solidFill>
                  <a:srgbClr val="051934"/>
                </a:solidFill>
              </a:rPr>
              <a:t>+1pp</a:t>
            </a:r>
          </a:p>
        </p:txBody>
      </p:sp>
      <p:sp>
        <p:nvSpPr>
          <p:cNvPr id="104" name="Rectangle 103">
            <a:extLst>
              <a:ext uri="{FF2B5EF4-FFF2-40B4-BE49-F238E27FC236}">
                <a16:creationId xmlns:a16="http://schemas.microsoft.com/office/drawing/2014/main" id="{1F930002-C025-44A4-9B3A-64F15130DDDF}"/>
              </a:ext>
            </a:extLst>
          </p:cNvPr>
          <p:cNvSpPr/>
          <p:nvPr/>
        </p:nvSpPr>
        <p:spPr>
          <a:xfrm>
            <a:off x="7018829" y="3542034"/>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2</a:t>
            </a:r>
          </a:p>
          <a:p>
            <a:pPr algn="ctr"/>
            <a:r>
              <a:rPr lang="en-US" sz="1200" dirty="0">
                <a:solidFill>
                  <a:srgbClr val="051934"/>
                </a:solidFill>
              </a:rPr>
              <a:t>+1pp</a:t>
            </a:r>
          </a:p>
        </p:txBody>
      </p:sp>
      <p:sp>
        <p:nvSpPr>
          <p:cNvPr id="105" name="Rectangle 104">
            <a:extLst>
              <a:ext uri="{FF2B5EF4-FFF2-40B4-BE49-F238E27FC236}">
                <a16:creationId xmlns:a16="http://schemas.microsoft.com/office/drawing/2014/main" id="{38A0997A-DCB7-4408-B489-2BA2F28DB6DD}"/>
              </a:ext>
            </a:extLst>
          </p:cNvPr>
          <p:cNvSpPr/>
          <p:nvPr/>
        </p:nvSpPr>
        <p:spPr>
          <a:xfrm>
            <a:off x="7018829" y="4083054"/>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1</a:t>
            </a:r>
          </a:p>
          <a:p>
            <a:pPr algn="ctr"/>
            <a:r>
              <a:rPr lang="en-US" sz="1200" dirty="0">
                <a:solidFill>
                  <a:srgbClr val="051934"/>
                </a:solidFill>
              </a:rPr>
              <a:t>+0pp</a:t>
            </a:r>
          </a:p>
        </p:txBody>
      </p:sp>
      <p:sp>
        <p:nvSpPr>
          <p:cNvPr id="106" name="Rectangle 105">
            <a:extLst>
              <a:ext uri="{FF2B5EF4-FFF2-40B4-BE49-F238E27FC236}">
                <a16:creationId xmlns:a16="http://schemas.microsoft.com/office/drawing/2014/main" id="{E0435ADC-7AB5-4098-B474-0B0CFCE9DF7A}"/>
              </a:ext>
            </a:extLst>
          </p:cNvPr>
          <p:cNvSpPr/>
          <p:nvPr/>
        </p:nvSpPr>
        <p:spPr>
          <a:xfrm>
            <a:off x="7018829" y="4624074"/>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2</a:t>
            </a:r>
          </a:p>
          <a:p>
            <a:pPr algn="ctr"/>
            <a:r>
              <a:rPr lang="en-US" sz="1200" dirty="0">
                <a:solidFill>
                  <a:srgbClr val="051934"/>
                </a:solidFill>
              </a:rPr>
              <a:t>+1pp</a:t>
            </a:r>
          </a:p>
        </p:txBody>
      </p:sp>
      <p:sp>
        <p:nvSpPr>
          <p:cNvPr id="107" name="Rectangle 106">
            <a:extLst>
              <a:ext uri="{FF2B5EF4-FFF2-40B4-BE49-F238E27FC236}">
                <a16:creationId xmlns:a16="http://schemas.microsoft.com/office/drawing/2014/main" id="{A64B25B3-A79C-41FD-8AEF-749E78E76219}"/>
              </a:ext>
            </a:extLst>
          </p:cNvPr>
          <p:cNvSpPr/>
          <p:nvPr/>
        </p:nvSpPr>
        <p:spPr>
          <a:xfrm>
            <a:off x="7018829" y="5165093"/>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8</a:t>
            </a:r>
          </a:p>
          <a:p>
            <a:pPr algn="ctr"/>
            <a:r>
              <a:rPr lang="en-US" sz="1200" dirty="0">
                <a:solidFill>
                  <a:srgbClr val="051934"/>
                </a:solidFill>
              </a:rPr>
              <a:t>-3pp</a:t>
            </a:r>
          </a:p>
        </p:txBody>
      </p:sp>
      <p:sp>
        <p:nvSpPr>
          <p:cNvPr id="108" name="Rectangle 107">
            <a:extLst>
              <a:ext uri="{FF2B5EF4-FFF2-40B4-BE49-F238E27FC236}">
                <a16:creationId xmlns:a16="http://schemas.microsoft.com/office/drawing/2014/main" id="{1DEF0AD7-FA75-4AC4-B222-19E5F9BEFAAA}"/>
              </a:ext>
            </a:extLst>
          </p:cNvPr>
          <p:cNvSpPr/>
          <p:nvPr/>
        </p:nvSpPr>
        <p:spPr>
          <a:xfrm>
            <a:off x="10959302" y="2997397"/>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6</a:t>
            </a:r>
          </a:p>
          <a:p>
            <a:pPr algn="ctr"/>
            <a:r>
              <a:rPr lang="en-US" sz="1200" dirty="0">
                <a:solidFill>
                  <a:srgbClr val="051934"/>
                </a:solidFill>
              </a:rPr>
              <a:t>+2pp</a:t>
            </a:r>
          </a:p>
        </p:txBody>
      </p:sp>
      <p:sp>
        <p:nvSpPr>
          <p:cNvPr id="110" name="Rectangle 109">
            <a:extLst>
              <a:ext uri="{FF2B5EF4-FFF2-40B4-BE49-F238E27FC236}">
                <a16:creationId xmlns:a16="http://schemas.microsoft.com/office/drawing/2014/main" id="{8F6FFACA-DBFE-43C6-B298-F2DC2D7F88E9}"/>
              </a:ext>
            </a:extLst>
          </p:cNvPr>
          <p:cNvSpPr/>
          <p:nvPr/>
        </p:nvSpPr>
        <p:spPr>
          <a:xfrm>
            <a:off x="10959302" y="3538417"/>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4</a:t>
            </a:r>
          </a:p>
          <a:p>
            <a:pPr algn="ctr"/>
            <a:r>
              <a:rPr lang="en-US" sz="1200" dirty="0">
                <a:solidFill>
                  <a:srgbClr val="051934"/>
                </a:solidFill>
              </a:rPr>
              <a:t>+1pp</a:t>
            </a:r>
          </a:p>
        </p:txBody>
      </p:sp>
      <p:sp>
        <p:nvSpPr>
          <p:cNvPr id="113" name="Rectangle 112">
            <a:extLst>
              <a:ext uri="{FF2B5EF4-FFF2-40B4-BE49-F238E27FC236}">
                <a16:creationId xmlns:a16="http://schemas.microsoft.com/office/drawing/2014/main" id="{EB39970F-2C49-4292-8AE7-F778963AE925}"/>
              </a:ext>
            </a:extLst>
          </p:cNvPr>
          <p:cNvSpPr/>
          <p:nvPr/>
        </p:nvSpPr>
        <p:spPr>
          <a:xfrm>
            <a:off x="10959302" y="4079437"/>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1</a:t>
            </a:r>
          </a:p>
          <a:p>
            <a:pPr algn="ctr"/>
            <a:r>
              <a:rPr lang="en-US" sz="1200" dirty="0">
                <a:solidFill>
                  <a:srgbClr val="051934"/>
                </a:solidFill>
              </a:rPr>
              <a:t>+0pp</a:t>
            </a:r>
          </a:p>
        </p:txBody>
      </p:sp>
      <p:sp>
        <p:nvSpPr>
          <p:cNvPr id="114" name="Rectangle 113">
            <a:extLst>
              <a:ext uri="{FF2B5EF4-FFF2-40B4-BE49-F238E27FC236}">
                <a16:creationId xmlns:a16="http://schemas.microsoft.com/office/drawing/2014/main" id="{848D957C-D15A-49B1-A109-FCBC1E90C305}"/>
              </a:ext>
            </a:extLst>
          </p:cNvPr>
          <p:cNvSpPr/>
          <p:nvPr/>
        </p:nvSpPr>
        <p:spPr>
          <a:xfrm>
            <a:off x="10957848" y="4620457"/>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1</a:t>
            </a:r>
          </a:p>
          <a:p>
            <a:pPr algn="ctr"/>
            <a:r>
              <a:rPr lang="en-US" sz="1200" dirty="0">
                <a:solidFill>
                  <a:srgbClr val="051934"/>
                </a:solidFill>
              </a:rPr>
              <a:t>+1pp</a:t>
            </a:r>
          </a:p>
        </p:txBody>
      </p:sp>
      <p:sp>
        <p:nvSpPr>
          <p:cNvPr id="115" name="Rectangle 114">
            <a:extLst>
              <a:ext uri="{FF2B5EF4-FFF2-40B4-BE49-F238E27FC236}">
                <a16:creationId xmlns:a16="http://schemas.microsoft.com/office/drawing/2014/main" id="{2B00A6D7-B449-4FB3-A095-C10C10440F78}"/>
              </a:ext>
            </a:extLst>
          </p:cNvPr>
          <p:cNvSpPr/>
          <p:nvPr/>
        </p:nvSpPr>
        <p:spPr>
          <a:xfrm>
            <a:off x="10957847" y="5161476"/>
            <a:ext cx="528637" cy="356957"/>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051934"/>
                </a:solidFill>
              </a:rPr>
              <a:t>-12</a:t>
            </a:r>
          </a:p>
          <a:p>
            <a:pPr algn="ctr"/>
            <a:r>
              <a:rPr lang="en-US" sz="1200" dirty="0">
                <a:solidFill>
                  <a:srgbClr val="051934"/>
                </a:solidFill>
              </a:rPr>
              <a:t>-3pp</a:t>
            </a:r>
          </a:p>
        </p:txBody>
      </p:sp>
      <p:sp>
        <p:nvSpPr>
          <p:cNvPr id="116" name="Rectangle 115">
            <a:extLst>
              <a:ext uri="{FF2B5EF4-FFF2-40B4-BE49-F238E27FC236}">
                <a16:creationId xmlns:a16="http://schemas.microsoft.com/office/drawing/2014/main" id="{164331E6-B102-44B2-8589-9B216387BA54}"/>
              </a:ext>
            </a:extLst>
          </p:cNvPr>
          <p:cNvSpPr/>
          <p:nvPr/>
        </p:nvSpPr>
        <p:spPr>
          <a:xfrm>
            <a:off x="8996977" y="1483212"/>
            <a:ext cx="528637" cy="457199"/>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dirty="0">
                <a:solidFill>
                  <a:srgbClr val="575757"/>
                </a:solidFill>
              </a:rPr>
              <a:t>+X</a:t>
            </a:r>
          </a:p>
          <a:p>
            <a:pPr algn="ctr"/>
            <a:r>
              <a:rPr lang="en-US" sz="1200" dirty="0">
                <a:solidFill>
                  <a:srgbClr val="575757"/>
                </a:solidFill>
              </a:rPr>
              <a:t>+</a:t>
            </a:r>
            <a:r>
              <a:rPr lang="en-US" sz="1200" dirty="0" err="1">
                <a:solidFill>
                  <a:srgbClr val="575757"/>
                </a:solidFill>
              </a:rPr>
              <a:t>Xpp</a:t>
            </a:r>
            <a:endParaRPr lang="en-US" sz="1200" dirty="0">
              <a:solidFill>
                <a:srgbClr val="575757"/>
              </a:solidFill>
            </a:endParaRPr>
          </a:p>
        </p:txBody>
      </p:sp>
      <p:sp>
        <p:nvSpPr>
          <p:cNvPr id="117" name="Rectangle 116">
            <a:extLst>
              <a:ext uri="{FF2B5EF4-FFF2-40B4-BE49-F238E27FC236}">
                <a16:creationId xmlns:a16="http://schemas.microsoft.com/office/drawing/2014/main" id="{B4245978-F0F9-4EEB-A61F-BE7D5234BFAD}"/>
              </a:ext>
            </a:extLst>
          </p:cNvPr>
          <p:cNvSpPr/>
          <p:nvPr/>
        </p:nvSpPr>
        <p:spPr>
          <a:xfrm>
            <a:off x="9483345" y="1483851"/>
            <a:ext cx="2391404" cy="4571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200" dirty="0">
                <a:solidFill>
                  <a:srgbClr val="575757"/>
                </a:solidFill>
              </a:rPr>
              <a:t>= WoW gross increase</a:t>
            </a:r>
          </a:p>
          <a:p>
            <a:r>
              <a:rPr lang="en-US" sz="1200" dirty="0">
                <a:solidFill>
                  <a:srgbClr val="575757"/>
                </a:solidFill>
              </a:rPr>
              <a:t>= WoW percentage point increase</a:t>
            </a:r>
          </a:p>
        </p:txBody>
      </p:sp>
    </p:spTree>
    <p:extLst>
      <p:ext uri="{BB962C8B-B14F-4D97-AF65-F5344CB8AC3E}">
        <p14:creationId xmlns:p14="http://schemas.microsoft.com/office/powerpoint/2010/main" val="127705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838FF3A-76E3-4D9D-BFE1-517E902702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53" name="think-cell Slide" r:id="rId5" imgW="395" imgH="394" progId="TCLayout.ActiveDocument.1">
                  <p:embed/>
                </p:oleObj>
              </mc:Choice>
              <mc:Fallback>
                <p:oleObj name="think-cell Slide" r:id="rId5" imgW="395" imgH="394" progId="TCLayout.ActiveDocument.1">
                  <p:embed/>
                  <p:pic>
                    <p:nvPicPr>
                      <p:cNvPr id="11" name="Object 10" hidden="1">
                        <a:extLst>
                          <a:ext uri="{FF2B5EF4-FFF2-40B4-BE49-F238E27FC236}">
                            <a16:creationId xmlns:a16="http://schemas.microsoft.com/office/drawing/2014/main" id="{A838FF3A-76E3-4D9D-BFE1-517E9027021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0766DA2-7D5A-434D-AD10-3F3A75869A50}"/>
              </a:ext>
            </a:extLst>
          </p:cNvPr>
          <p:cNvSpPr>
            <a:spLocks noGrp="1"/>
          </p:cNvSpPr>
          <p:nvPr>
            <p:ph type="title"/>
          </p:nvPr>
        </p:nvSpPr>
        <p:spPr/>
        <p:txBody>
          <a:bodyPr vert="horz"/>
          <a:lstStyle/>
          <a:p>
            <a:r>
              <a:rPr lang="en-US" dirty="0">
                <a:solidFill>
                  <a:srgbClr val="EDAE1D"/>
                </a:solidFill>
              </a:rPr>
              <a:t>Backup |</a:t>
            </a:r>
            <a:r>
              <a:rPr lang="en-US" dirty="0"/>
              <a:t> Detail on outbreaks</a:t>
            </a:r>
          </a:p>
        </p:txBody>
      </p:sp>
      <p:sp>
        <p:nvSpPr>
          <p:cNvPr id="3" name="ee4pContent1">
            <a:extLst>
              <a:ext uri="{FF2B5EF4-FFF2-40B4-BE49-F238E27FC236}">
                <a16:creationId xmlns:a16="http://schemas.microsoft.com/office/drawing/2014/main" id="{7B894E51-9B95-4D78-BAA1-20E529D3A4EC}"/>
              </a:ext>
            </a:extLst>
          </p:cNvPr>
          <p:cNvSpPr txBox="1"/>
          <p:nvPr/>
        </p:nvSpPr>
        <p:spPr>
          <a:xfrm>
            <a:off x="287840" y="2922032"/>
            <a:ext cx="3865052" cy="314915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51934"/>
              </a:buClr>
              <a:buSzPct val="100000"/>
              <a:buFont typeface="Trebuchet MS" panose="020B0603020202020204" pitchFamily="34" charset="0"/>
              <a:buChar char="•"/>
              <a:defRPr sz="2000">
                <a:solidFill>
                  <a:srgbClr val="000000"/>
                </a:solidFill>
              </a:defRPr>
            </a:lvl2pPr>
            <a:lvl3pPr marL="648000" lvl="2" indent="-216000">
              <a:buClr>
                <a:srgbClr val="051934"/>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51934"/>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51934"/>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51934"/>
                </a:solidFill>
              </a:defRPr>
            </a:lvl8pPr>
            <a:lvl9pPr marL="0" lvl="8">
              <a:buSzPct val="100000"/>
              <a:buFont typeface="Trebuchet MS" panose="020B0603020202020204" pitchFamily="34" charset="0"/>
              <a:buChar char="​"/>
              <a:defRPr sz="4400">
                <a:solidFill>
                  <a:srgbClr val="051934"/>
                </a:solidFill>
              </a:defRPr>
            </a:lvl9pPr>
          </a:lstStyle>
          <a:p>
            <a:pPr marL="178200" lvl="1" indent="-118800" eaLnBrk="0" fontAlgn="base" hangingPunct="0">
              <a:buSzTx/>
              <a:buFont typeface="Trebuchet MS" panose="020B0603020202020204" pitchFamily="34" charset="0"/>
              <a:buChar char="•"/>
            </a:pPr>
            <a:r>
              <a:rPr kumimoji="0" lang="en-US" altLang="en-US" sz="1600" b="0" strike="noStrike" cap="none" normalizeH="0" baseline="0" dirty="0">
                <a:ln>
                  <a:noFill/>
                </a:ln>
                <a:effectLst/>
                <a:latin typeface="Calibri" panose="020F0502020204030204" pitchFamily="34" charset="0"/>
                <a:ea typeface="Times New Roman" panose="02020603050405020304" pitchFamily="18" charset="0"/>
              </a:rPr>
              <a:t>Definition: Two or more cases where the transmission happened while in school</a:t>
            </a:r>
          </a:p>
          <a:p>
            <a:pPr marL="178200" lvl="1" indent="-118800" eaLnBrk="0" fontAlgn="base" hangingPunct="0">
              <a:buSzTx/>
              <a:buFont typeface="Trebuchet MS" panose="020B0603020202020204" pitchFamily="34" charset="0"/>
              <a:buChar char="•"/>
            </a:pPr>
            <a:endParaRPr lang="en-US" altLang="en-US" sz="1600" dirty="0">
              <a:latin typeface="Calibri" panose="020F0502020204030204" pitchFamily="34" charset="0"/>
            </a:endParaRPr>
          </a:p>
          <a:p>
            <a:pPr marL="178200" lvl="1" indent="-118800" eaLnBrk="0" fontAlgn="base" hangingPunct="0">
              <a:buSzTx/>
              <a:buFont typeface="Trebuchet MS" panose="020B0603020202020204" pitchFamily="34" charset="0"/>
              <a:buChar char="•"/>
            </a:pPr>
            <a:r>
              <a:rPr kumimoji="0" lang="en-US" altLang="en-US" sz="1600" b="0" i="0" u="none" strike="noStrike" cap="none" normalizeH="0" baseline="0" dirty="0">
                <a:ln>
                  <a:noFill/>
                </a:ln>
                <a:effectLst/>
                <a:latin typeface="Calibri" panose="020F0502020204030204" pitchFamily="34" charset="0"/>
                <a:ea typeface="Times New Roman" panose="02020603050405020304" pitchFamily="18" charset="0"/>
              </a:rPr>
              <a:t>When a school has students/teachers/staff etc. out of school in isolation due to COVID-19, it’s not necessarily an outbreak</a:t>
            </a:r>
          </a:p>
          <a:p>
            <a:pPr marL="356400" lvl="2" indent="-118800" eaLnBrk="0" fontAlgn="base" hangingPunct="0">
              <a:buSzTx/>
              <a:buFont typeface="Trebuchet MS" panose="020B0603020202020204" pitchFamily="34" charset="0"/>
              <a:buChar char="–"/>
            </a:pPr>
            <a:r>
              <a:rPr kumimoji="0" lang="en-US" altLang="en-US" sz="1600" u="none" strike="noStrike" cap="none" normalizeH="0" baseline="0" dirty="0">
                <a:ln>
                  <a:noFill/>
                </a:ln>
                <a:effectLst/>
                <a:latin typeface="Calibri" panose="020F0502020204030204" pitchFamily="34" charset="0"/>
                <a:ea typeface="Times New Roman" panose="02020603050405020304" pitchFamily="18" charset="0"/>
              </a:rPr>
              <a:t>If transmission occurred in school, only then </a:t>
            </a:r>
            <a:r>
              <a:rPr kumimoji="0" lang="en-US" altLang="en-US" sz="1600" u="sng" strike="noStrike" cap="none" normalizeH="0" baseline="0" dirty="0">
                <a:ln>
                  <a:noFill/>
                </a:ln>
                <a:effectLst/>
                <a:latin typeface="Calibri" panose="020F0502020204030204" pitchFamily="34" charset="0"/>
                <a:ea typeface="Times New Roman" panose="02020603050405020304" pitchFamily="18" charset="0"/>
              </a:rPr>
              <a:t>is it</a:t>
            </a:r>
            <a:r>
              <a:rPr kumimoji="0" lang="en-US" altLang="en-US" sz="1600" u="none" strike="noStrike" cap="none" normalizeH="0" baseline="0" dirty="0">
                <a:ln>
                  <a:noFill/>
                </a:ln>
                <a:effectLst/>
                <a:latin typeface="Calibri" panose="020F0502020204030204" pitchFamily="34" charset="0"/>
                <a:ea typeface="Times New Roman" panose="02020603050405020304" pitchFamily="18" charset="0"/>
              </a:rPr>
              <a:t> considered an outbreak</a:t>
            </a:r>
            <a:r>
              <a:rPr kumimoji="0" lang="en-US" altLang="en-US" sz="1600" u="sng" strike="noStrike" cap="none" normalizeH="0" baseline="0" dirty="0">
                <a:ln>
                  <a:noFill/>
                </a:ln>
                <a:effectLst/>
                <a:latin typeface="Calibri" panose="020F0502020204030204" pitchFamily="34" charset="0"/>
                <a:ea typeface="Times New Roman" panose="02020603050405020304" pitchFamily="18" charset="0"/>
              </a:rPr>
              <a:t> </a:t>
            </a:r>
          </a:p>
          <a:p>
            <a:pPr marL="356400" lvl="2" indent="-118800" eaLnBrk="0" fontAlgn="base" hangingPunct="0">
              <a:buSzTx/>
              <a:buFont typeface="Trebuchet MS" panose="020B0603020202020204" pitchFamily="34" charset="0"/>
              <a:buChar char="–"/>
            </a:pPr>
            <a:endParaRPr lang="en-US" altLang="en-US" sz="1600" dirty="0">
              <a:latin typeface="Calibri" panose="020F0502020204030204" pitchFamily="34" charset="0"/>
              <a:ea typeface="Times New Roman" panose="02020603050405020304" pitchFamily="18" charset="0"/>
            </a:endParaRPr>
          </a:p>
          <a:p>
            <a:pPr marL="178200" lvl="1" indent="-118800" eaLnBrk="0" fontAlgn="base" hangingPunct="0">
              <a:buSzTx/>
              <a:buFont typeface="Trebuchet MS" panose="020B0603020202020204" pitchFamily="34" charset="0"/>
              <a:buChar char="•"/>
            </a:pPr>
            <a:r>
              <a:rPr kumimoji="0" lang="en-US" altLang="en-US" sz="1600" b="0" i="0" u="none" strike="noStrike" cap="none" normalizeH="0" baseline="0" dirty="0">
                <a:ln>
                  <a:noFill/>
                </a:ln>
                <a:effectLst/>
                <a:latin typeface="Calibri" panose="020F0502020204030204" pitchFamily="34" charset="0"/>
                <a:ea typeface="Times New Roman" panose="02020603050405020304" pitchFamily="18" charset="0"/>
              </a:rPr>
              <a:t>Outbreak is considered over when two incubation periods (i.e. 28 days) have passed with no additional infections</a:t>
            </a:r>
            <a:endParaRPr kumimoji="0" lang="en-US" altLang="en-US" sz="1600" b="0" i="0" u="none" strike="noStrike" cap="none" normalizeH="0" baseline="0" dirty="0">
              <a:ln>
                <a:noFill/>
              </a:ln>
              <a:effectLst/>
              <a:latin typeface="Calibri" panose="020F0502020204030204" pitchFamily="34" charset="0"/>
            </a:endParaRPr>
          </a:p>
        </p:txBody>
      </p:sp>
      <p:sp>
        <p:nvSpPr>
          <p:cNvPr id="4" name="ee4pContent2">
            <a:extLst>
              <a:ext uri="{FF2B5EF4-FFF2-40B4-BE49-F238E27FC236}">
                <a16:creationId xmlns:a16="http://schemas.microsoft.com/office/drawing/2014/main" id="{867C790B-0EED-470C-AB76-E62DA2ED60AD}"/>
              </a:ext>
            </a:extLst>
          </p:cNvPr>
          <p:cNvSpPr txBox="1"/>
          <p:nvPr/>
        </p:nvSpPr>
        <p:spPr>
          <a:xfrm>
            <a:off x="4434862" y="2922032"/>
            <a:ext cx="3961317" cy="28005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51934"/>
              </a:buClr>
              <a:buSzPct val="100000"/>
              <a:buFont typeface="Trebuchet MS" panose="020B0603020202020204" pitchFamily="34" charset="0"/>
              <a:buChar char="•"/>
              <a:defRPr sz="2000">
                <a:solidFill>
                  <a:srgbClr val="000000"/>
                </a:solidFill>
              </a:defRPr>
            </a:lvl2pPr>
            <a:lvl3pPr marL="648000" lvl="2" indent="-216000">
              <a:buClr>
                <a:srgbClr val="051934"/>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51934"/>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51934"/>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51934"/>
                </a:solidFill>
              </a:defRPr>
            </a:lvl8pPr>
            <a:lvl9pPr marL="0" lvl="8">
              <a:buSzPct val="100000"/>
              <a:buFont typeface="Trebuchet MS" panose="020B0603020202020204" pitchFamily="34" charset="0"/>
              <a:buChar char="​"/>
              <a:defRPr sz="4400">
                <a:solidFill>
                  <a:srgbClr val="051934"/>
                </a:solidFill>
              </a:defRPr>
            </a:lvl9pPr>
          </a:lstStyle>
          <a:p>
            <a:pPr marL="178200" lvl="1" indent="-118800" eaLnBrk="0" fontAlgn="base" hangingPunct="0">
              <a:buSzTx/>
              <a:buFont typeface="Trebuchet MS" panose="020B0603020202020204" pitchFamily="34" charset="0"/>
              <a:buChar char="•"/>
            </a:pPr>
            <a:r>
              <a:rPr kumimoji="0" lang="en-US" altLang="en-US" sz="1600" b="0" i="0" u="none" strike="noStrike" cap="none" normalizeH="0" baseline="0" dirty="0">
                <a:ln>
                  <a:noFill/>
                </a:ln>
                <a:effectLst/>
                <a:latin typeface="Calibri" panose="020F0502020204030204" pitchFamily="34" charset="0"/>
                <a:ea typeface="Times New Roman" panose="02020603050405020304" pitchFamily="18" charset="0"/>
              </a:rPr>
              <a:t>Local health departments and schools report outbreaks to KDHE and communication between these entities is crucial</a:t>
            </a:r>
          </a:p>
          <a:p>
            <a:pPr marL="178200" lvl="1" indent="-118800" eaLnBrk="0" fontAlgn="base" hangingPunct="0">
              <a:buSzTx/>
              <a:buFont typeface="Trebuchet MS" panose="020B0603020202020204" pitchFamily="34" charset="0"/>
              <a:buChar char="•"/>
            </a:pPr>
            <a:endParaRPr kumimoji="0" lang="en-US" altLang="en-US" sz="1600" b="0" i="0" u="none" strike="noStrike" cap="none" normalizeH="0" baseline="0" dirty="0">
              <a:ln>
                <a:noFill/>
              </a:ln>
              <a:effectLst/>
              <a:latin typeface="Calibri" panose="020F0502020204030204" pitchFamily="34" charset="0"/>
              <a:ea typeface="Calibri" panose="020F0502020204030204" pitchFamily="34" charset="0"/>
            </a:endParaRPr>
          </a:p>
          <a:p>
            <a:pPr marL="178200" lvl="1" indent="-118800" eaLnBrk="0" fontAlgn="base" hangingPunct="0">
              <a:buSzTx/>
              <a:buFont typeface="Trebuchet MS" panose="020B0603020202020204" pitchFamily="34" charset="0"/>
              <a:buChar char="•"/>
            </a:pPr>
            <a:r>
              <a:rPr kumimoji="0" lang="en-US" altLang="en-US" sz="1600" b="0" i="0" u="none" strike="noStrike" cap="none" normalizeH="0" baseline="0" dirty="0">
                <a:ln>
                  <a:noFill/>
                </a:ln>
                <a:effectLst/>
                <a:latin typeface="Calibri" panose="020F0502020204030204" pitchFamily="34" charset="0"/>
                <a:ea typeface="Times New Roman" panose="02020603050405020304" pitchFamily="18" charset="0"/>
              </a:rPr>
              <a:t>When there is a case being investigated, the investigator tries to trace where exposure could have occurred in the last 14 days.  </a:t>
            </a:r>
            <a:endParaRPr kumimoji="0" lang="en-US" altLang="en-US" sz="1600" b="0" i="0" u="none" strike="noStrike" cap="none" normalizeH="0" baseline="0" dirty="0">
              <a:ln>
                <a:noFill/>
              </a:ln>
              <a:effectLst/>
              <a:latin typeface="Calibri" panose="020F0502020204030204" pitchFamily="34" charset="0"/>
            </a:endParaRPr>
          </a:p>
          <a:p>
            <a:pPr marL="356400" lvl="2" indent="-118800" eaLnBrk="0" fontAlgn="base" hangingPunct="0">
              <a:buSzTx/>
              <a:buFont typeface="Trebuchet MS" panose="020B0603020202020204" pitchFamily="34" charset="0"/>
              <a:buChar char="–"/>
            </a:pPr>
            <a:r>
              <a:rPr kumimoji="0" lang="en-US" altLang="en-US" sz="1600" b="0" u="none" strike="noStrike" cap="none" normalizeH="0" baseline="0" dirty="0">
                <a:ln>
                  <a:noFill/>
                </a:ln>
                <a:effectLst/>
                <a:latin typeface="Calibri" panose="020F0502020204030204" pitchFamily="34" charset="0"/>
                <a:ea typeface="Times New Roman" panose="02020603050405020304" pitchFamily="18" charset="0"/>
              </a:rPr>
              <a:t>If a case </a:t>
            </a:r>
            <a:r>
              <a:rPr kumimoji="0" lang="en-US" altLang="en-US" sz="1600" b="0" u="sng" strike="noStrike" cap="none" normalizeH="0" baseline="0" dirty="0">
                <a:ln>
                  <a:noFill/>
                </a:ln>
                <a:effectLst/>
                <a:latin typeface="Calibri" panose="020F0502020204030204" pitchFamily="34" charset="0"/>
                <a:ea typeface="Times New Roman" panose="02020603050405020304" pitchFamily="18" charset="0"/>
              </a:rPr>
              <a:t>does not</a:t>
            </a:r>
            <a:r>
              <a:rPr kumimoji="0" lang="en-US" altLang="en-US" sz="1600" b="0" u="none" strike="noStrike" cap="none" normalizeH="0" baseline="0" dirty="0">
                <a:ln>
                  <a:noFill/>
                </a:ln>
                <a:effectLst/>
                <a:latin typeface="Calibri" panose="020F0502020204030204" pitchFamily="34" charset="0"/>
                <a:ea typeface="Times New Roman" panose="02020603050405020304" pitchFamily="18" charset="0"/>
              </a:rPr>
              <a:t> state that they were potentially exposed at school, then there’s no outbreak report is submitted</a:t>
            </a:r>
          </a:p>
          <a:p>
            <a:pPr marL="237600" lvl="2" indent="0" eaLnBrk="0" fontAlgn="base" hangingPunct="0">
              <a:buSzTx/>
              <a:buNone/>
            </a:pPr>
            <a:r>
              <a:rPr kumimoji="0" lang="en-US" altLang="en-US" sz="1600" b="0" u="none" strike="noStrike" cap="none" normalizeH="0" baseline="0" dirty="0">
                <a:ln>
                  <a:noFill/>
                </a:ln>
                <a:effectLst/>
                <a:latin typeface="Calibri" panose="020F0502020204030204" pitchFamily="34" charset="0"/>
                <a:ea typeface="Times New Roman" panose="02020603050405020304" pitchFamily="18" charset="0"/>
              </a:rPr>
              <a:t> </a:t>
            </a:r>
            <a:endParaRPr kumimoji="0" lang="en-US" altLang="en-US" sz="1600" b="0" u="none" strike="noStrike" cap="none" normalizeH="0" baseline="0" dirty="0">
              <a:ln>
                <a:noFill/>
              </a:ln>
              <a:effectLst/>
              <a:latin typeface="Calibri" panose="020F0502020204030204" pitchFamily="34" charset="0"/>
            </a:endParaRPr>
          </a:p>
          <a:p>
            <a:pPr marL="178200" lvl="1" indent="-118800" eaLnBrk="0" fontAlgn="base" hangingPunct="0">
              <a:buSzTx/>
              <a:buFont typeface="Trebuchet MS" panose="020B0603020202020204" pitchFamily="34" charset="0"/>
              <a:buChar char="•"/>
            </a:pPr>
            <a:r>
              <a:rPr kumimoji="0" lang="en-US" altLang="en-US" sz="1600" b="0" i="0" u="none" strike="noStrike" cap="none" normalizeH="0" baseline="0" dirty="0">
                <a:ln>
                  <a:noFill/>
                </a:ln>
                <a:effectLst/>
                <a:latin typeface="Calibri" panose="020F0502020204030204" pitchFamily="34" charset="0"/>
                <a:ea typeface="Times New Roman" panose="02020603050405020304" pitchFamily="18" charset="0"/>
              </a:rPr>
              <a:t>When news reports about classrooms isolating or closing arise, KDHE reaches out to LHDs to find out if there are any possible outbreaks that they have not been notified </a:t>
            </a:r>
            <a:endParaRPr kumimoji="0" lang="en-US" altLang="en-US" sz="1600" b="0" i="0" u="none" strike="noStrike" cap="none" normalizeH="0" baseline="0" dirty="0">
              <a:ln>
                <a:noFill/>
              </a:ln>
              <a:effectLst/>
              <a:latin typeface="Calibri" panose="020F0502020204030204" pitchFamily="34" charset="0"/>
            </a:endParaRPr>
          </a:p>
        </p:txBody>
      </p:sp>
      <p:sp>
        <p:nvSpPr>
          <p:cNvPr id="5" name="ee4pContent3">
            <a:extLst>
              <a:ext uri="{FF2B5EF4-FFF2-40B4-BE49-F238E27FC236}">
                <a16:creationId xmlns:a16="http://schemas.microsoft.com/office/drawing/2014/main" id="{F7217F88-7D13-41A0-84CB-7D5FECB0D29A}"/>
              </a:ext>
            </a:extLst>
          </p:cNvPr>
          <p:cNvSpPr txBox="1"/>
          <p:nvPr/>
        </p:nvSpPr>
        <p:spPr>
          <a:xfrm>
            <a:off x="8582520" y="2953067"/>
            <a:ext cx="3449745" cy="280058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2000">
                <a:solidFill>
                  <a:srgbClr val="000000"/>
                </a:solidFill>
              </a:defRPr>
            </a:lvl1pPr>
            <a:lvl2pPr marL="324000" lvl="1" indent="-216000">
              <a:buClr>
                <a:srgbClr val="051934"/>
              </a:buClr>
              <a:buSzPct val="100000"/>
              <a:buFont typeface="Trebuchet MS" panose="020B0603020202020204" pitchFamily="34" charset="0"/>
              <a:buChar char="•"/>
              <a:defRPr sz="2000">
                <a:solidFill>
                  <a:srgbClr val="000000"/>
                </a:solidFill>
              </a:defRPr>
            </a:lvl2pPr>
            <a:lvl3pPr marL="648000" lvl="2" indent="-216000">
              <a:buClr>
                <a:srgbClr val="051934"/>
              </a:buClr>
              <a:buSzPct val="100000"/>
              <a:buFont typeface="Trebuchet MS" panose="020B0603020202020204" pitchFamily="34" charset="0"/>
              <a:buChar char="–"/>
              <a:defRPr sz="2000">
                <a:solidFill>
                  <a:srgbClr val="000000"/>
                </a:solidFill>
              </a:defRPr>
            </a:lvl3pPr>
            <a:lvl4pPr marL="0" lvl="3">
              <a:buSzPct val="100000"/>
              <a:buFont typeface="Trebuchet MS" panose="020B0603020202020204" pitchFamily="34" charset="0"/>
              <a:buChar char="​"/>
              <a:defRPr sz="2400">
                <a:solidFill>
                  <a:srgbClr val="051934"/>
                </a:solidFill>
              </a:defRPr>
            </a:lvl4pPr>
            <a:lvl5pPr marL="0" lvl="4">
              <a:buSzPct val="100000"/>
              <a:buFont typeface="Trebuchet MS" panose="020B0603020202020204" pitchFamily="34" charset="0"/>
              <a:buChar char="​"/>
              <a:defRPr sz="2400" b="1">
                <a:solidFill>
                  <a:srgbClr val="000000"/>
                </a:solidFill>
              </a:defRPr>
            </a:lvl5pPr>
            <a:lvl6pPr marL="324000" lvl="5" indent="-216000">
              <a:buClr>
                <a:srgbClr val="051934"/>
              </a:buClr>
              <a:buSzPct val="100000"/>
              <a:buFont typeface="Trebuchet MS" panose="020B0603020202020204" pitchFamily="34" charset="0"/>
              <a:buChar char="•"/>
              <a:defRPr sz="2400">
                <a:solidFill>
                  <a:srgbClr val="000000"/>
                </a:solidFill>
              </a:defRPr>
            </a:lvl6pPr>
            <a:lvl7pPr marL="0" lvl="6">
              <a:buSzPct val="100000"/>
              <a:buFont typeface="Trebuchet MS" panose="020B0603020202020204" pitchFamily="34" charset="0"/>
              <a:buChar char="​"/>
              <a:defRPr sz="5400">
                <a:solidFill>
                  <a:srgbClr val="000000"/>
                </a:solidFill>
              </a:defRPr>
            </a:lvl7pPr>
            <a:lvl8pPr marL="0" lvl="7">
              <a:buSzPct val="100000"/>
              <a:buFont typeface="Trebuchet MS" panose="020B0603020202020204" pitchFamily="34" charset="0"/>
              <a:buChar char="​"/>
              <a:defRPr sz="6600">
                <a:solidFill>
                  <a:srgbClr val="051934"/>
                </a:solidFill>
              </a:defRPr>
            </a:lvl8pPr>
            <a:lvl9pPr marL="0" lvl="8">
              <a:buSzPct val="100000"/>
              <a:buFont typeface="Trebuchet MS" panose="020B0603020202020204" pitchFamily="34" charset="0"/>
              <a:buChar char="​"/>
              <a:defRPr sz="4400">
                <a:solidFill>
                  <a:srgbClr val="051934"/>
                </a:solidFill>
              </a:defRPr>
            </a:lvl9pPr>
          </a:lstStyle>
          <a:p>
            <a:pPr marL="178200" lvl="1" indent="-118800" eaLnBrk="0" fontAlgn="base" hangingPunct="0">
              <a:buSzTx/>
              <a:buFont typeface="Trebuchet MS" panose="020B0603020202020204" pitchFamily="34" charset="0"/>
              <a:buChar char="•"/>
            </a:pPr>
            <a:r>
              <a:rPr lang="en-US" altLang="en-US" sz="1600" dirty="0">
                <a:latin typeface="Calibri" panose="020F0502020204030204" pitchFamily="34" charset="0"/>
                <a:ea typeface="Times New Roman" panose="02020603050405020304" pitchFamily="18" charset="0"/>
              </a:rPr>
              <a:t>Names of locations that have </a:t>
            </a:r>
            <a:r>
              <a:rPr lang="en-US" altLang="en-US" sz="1600" u="sng" dirty="0">
                <a:latin typeface="Calibri" panose="020F0502020204030204" pitchFamily="34" charset="0"/>
                <a:ea typeface="Times New Roman" panose="02020603050405020304" pitchFamily="18" charset="0"/>
              </a:rPr>
              <a:t>five or more</a:t>
            </a:r>
            <a:r>
              <a:rPr lang="en-US" altLang="en-US" sz="1600" dirty="0">
                <a:latin typeface="Calibri" panose="020F0502020204030204" pitchFamily="34" charset="0"/>
                <a:ea typeface="Times New Roman" panose="02020603050405020304" pitchFamily="18" charset="0"/>
              </a:rPr>
              <a:t> COVID-19 cases with symptoms onset in the last 14 days. </a:t>
            </a:r>
          </a:p>
          <a:p>
            <a:pPr marL="178200" lvl="1" indent="-118800" eaLnBrk="0" fontAlgn="base" hangingPunct="0">
              <a:buSzTx/>
              <a:buFont typeface="Trebuchet MS" panose="020B0603020202020204" pitchFamily="34" charset="0"/>
              <a:buChar char="•"/>
            </a:pPr>
            <a:endParaRPr lang="en-US" altLang="en-US" sz="1600" dirty="0">
              <a:latin typeface="Calibri" panose="020F0502020204030204" pitchFamily="34" charset="0"/>
              <a:ea typeface="Calibri" panose="020F0502020204030204" pitchFamily="34" charset="0"/>
            </a:endParaRPr>
          </a:p>
          <a:p>
            <a:pPr marL="178200" lvl="1" indent="-118800" eaLnBrk="0" fontAlgn="base" hangingPunct="0">
              <a:buSzTx/>
              <a:buFont typeface="Trebuchet MS" panose="020B0603020202020204" pitchFamily="34" charset="0"/>
              <a:buChar char="•"/>
            </a:pPr>
            <a:r>
              <a:rPr lang="en-US" altLang="en-US" sz="1600" dirty="0">
                <a:latin typeface="Calibri" panose="020F0502020204030204" pitchFamily="34" charset="0"/>
                <a:ea typeface="Times New Roman" panose="02020603050405020304" pitchFamily="18" charset="0"/>
              </a:rPr>
              <a:t>It is </a:t>
            </a:r>
            <a:r>
              <a:rPr lang="en-US" altLang="en-US" sz="1600" u="sng" dirty="0">
                <a:latin typeface="Calibri" panose="020F0502020204030204" pitchFamily="34" charset="0"/>
                <a:ea typeface="Times New Roman" panose="02020603050405020304" pitchFamily="18" charset="0"/>
              </a:rPr>
              <a:t>removed</a:t>
            </a:r>
            <a:r>
              <a:rPr lang="en-US" altLang="en-US" sz="1600" dirty="0">
                <a:latin typeface="Calibri" panose="020F0502020204030204" pitchFamily="34" charset="0"/>
                <a:ea typeface="Times New Roman" panose="02020603050405020304" pitchFamily="18" charset="0"/>
              </a:rPr>
              <a:t> once a location no longer has five or more COVID-19 cases with symptoms</a:t>
            </a:r>
            <a:endParaRPr lang="en-US" altLang="en-US" sz="1600" dirty="0">
              <a:latin typeface="Calibri" panose="020F0502020204030204" pitchFamily="34" charset="0"/>
            </a:endParaRPr>
          </a:p>
        </p:txBody>
      </p:sp>
      <p:sp>
        <p:nvSpPr>
          <p:cNvPr id="6" name="ee4pHeader1">
            <a:extLst>
              <a:ext uri="{FF2B5EF4-FFF2-40B4-BE49-F238E27FC236}">
                <a16:creationId xmlns:a16="http://schemas.microsoft.com/office/drawing/2014/main" id="{6B7F9647-99AF-41C6-B185-0E9D1394573D}"/>
              </a:ext>
            </a:extLst>
          </p:cNvPr>
          <p:cNvSpPr txBox="1"/>
          <p:nvPr/>
        </p:nvSpPr>
        <p:spPr>
          <a:xfrm>
            <a:off x="287841" y="2077356"/>
            <a:ext cx="3507982" cy="730437"/>
          </a:xfrm>
          <a:prstGeom prst="rect">
            <a:avLst/>
          </a:prstGeom>
          <a:noFill/>
          <a:ln cap="rnd">
            <a:noFill/>
          </a:ln>
        </p:spPr>
        <p:txBody>
          <a:bodyPr vert="horz" wrap="square" lIns="0" tIns="0" rIns="0" bIns="0" rtlCol="0" anchor="b" anchorCtr="0">
            <a:noAutofit/>
          </a:bodyPr>
          <a:lstStyle/>
          <a:p>
            <a:pPr marL="0" lvl="3"/>
            <a:r>
              <a:rPr lang="en-US" dirty="0">
                <a:solidFill>
                  <a:srgbClr val="051934">
                    <a:lumMod val="100000"/>
                  </a:srgbClr>
                </a:solidFill>
                <a:latin typeface="Calibri" panose="020F0502020204030204" pitchFamily="34" charset="0"/>
              </a:rPr>
              <a:t>What are outbreaks?</a:t>
            </a:r>
          </a:p>
        </p:txBody>
      </p:sp>
      <p:sp>
        <p:nvSpPr>
          <p:cNvPr id="7" name="ee4pHeader2">
            <a:extLst>
              <a:ext uri="{FF2B5EF4-FFF2-40B4-BE49-F238E27FC236}">
                <a16:creationId xmlns:a16="http://schemas.microsoft.com/office/drawing/2014/main" id="{424786F6-9FB8-428B-8033-BE69959E8540}"/>
              </a:ext>
            </a:extLst>
          </p:cNvPr>
          <p:cNvSpPr txBox="1"/>
          <p:nvPr/>
        </p:nvSpPr>
        <p:spPr>
          <a:xfrm>
            <a:off x="4434863" y="2077356"/>
            <a:ext cx="3510316" cy="730437"/>
          </a:xfrm>
          <a:prstGeom prst="rect">
            <a:avLst/>
          </a:prstGeom>
          <a:noFill/>
          <a:ln cap="rnd">
            <a:noFill/>
          </a:ln>
        </p:spPr>
        <p:txBody>
          <a:bodyPr vert="horz" wrap="square" lIns="0" tIns="0" rIns="0" bIns="0" rtlCol="0" anchor="b" anchorCtr="0">
            <a:noAutofit/>
          </a:bodyPr>
          <a:lstStyle/>
          <a:p>
            <a:pPr marL="0" lvl="3"/>
            <a:r>
              <a:rPr lang="en-US" dirty="0">
                <a:solidFill>
                  <a:srgbClr val="051934">
                    <a:lumMod val="100000"/>
                  </a:srgbClr>
                </a:solidFill>
                <a:latin typeface="Calibri" panose="020F0502020204030204" pitchFamily="34" charset="0"/>
              </a:rPr>
              <a:t>How are they identified &amp; reported?</a:t>
            </a:r>
          </a:p>
        </p:txBody>
      </p:sp>
      <p:sp>
        <p:nvSpPr>
          <p:cNvPr id="8" name="ee4pHeader3">
            <a:extLst>
              <a:ext uri="{FF2B5EF4-FFF2-40B4-BE49-F238E27FC236}">
                <a16:creationId xmlns:a16="http://schemas.microsoft.com/office/drawing/2014/main" id="{6505452F-18D4-4679-9FB1-C9D8649587FD}"/>
              </a:ext>
            </a:extLst>
          </p:cNvPr>
          <p:cNvSpPr txBox="1"/>
          <p:nvPr/>
        </p:nvSpPr>
        <p:spPr>
          <a:xfrm>
            <a:off x="8582520" y="2077356"/>
            <a:ext cx="3510316" cy="730437"/>
          </a:xfrm>
          <a:prstGeom prst="rect">
            <a:avLst/>
          </a:prstGeom>
          <a:noFill/>
          <a:ln cap="rnd">
            <a:noFill/>
          </a:ln>
        </p:spPr>
        <p:txBody>
          <a:bodyPr vert="horz" wrap="square" lIns="0" tIns="0" rIns="0" bIns="0" rtlCol="0" anchor="b" anchorCtr="0">
            <a:noAutofit/>
          </a:bodyPr>
          <a:lstStyle/>
          <a:p>
            <a:pPr marL="0" lvl="3"/>
            <a:r>
              <a:rPr lang="en-US" dirty="0">
                <a:solidFill>
                  <a:srgbClr val="051934">
                    <a:lumMod val="100000"/>
                  </a:srgbClr>
                </a:solidFill>
                <a:latin typeface="Calibri" panose="020F0502020204030204" pitchFamily="34" charset="0"/>
              </a:rPr>
              <a:t>What gets published?</a:t>
            </a:r>
          </a:p>
        </p:txBody>
      </p:sp>
      <p:sp>
        <p:nvSpPr>
          <p:cNvPr id="18" name="Oval 17">
            <a:extLst>
              <a:ext uri="{FF2B5EF4-FFF2-40B4-BE49-F238E27FC236}">
                <a16:creationId xmlns:a16="http://schemas.microsoft.com/office/drawing/2014/main" id="{86DB6ACB-AE72-405C-8C7D-938B5A44987A}"/>
              </a:ext>
            </a:extLst>
          </p:cNvPr>
          <p:cNvSpPr/>
          <p:nvPr/>
        </p:nvSpPr>
        <p:spPr>
          <a:xfrm>
            <a:off x="8396179" y="1209235"/>
            <a:ext cx="1295406" cy="1295406"/>
          </a:xfrm>
          <a:prstGeom prst="ellipse">
            <a:avLst/>
          </a:prstGeom>
          <a:solidFill>
            <a:srgbClr val="FFFFFF"/>
          </a:solid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19" name="Oval 18">
            <a:extLst>
              <a:ext uri="{FF2B5EF4-FFF2-40B4-BE49-F238E27FC236}">
                <a16:creationId xmlns:a16="http://schemas.microsoft.com/office/drawing/2014/main" id="{FC39E9FB-FC0C-4005-B002-45FB3B3ED8B0}"/>
              </a:ext>
            </a:extLst>
          </p:cNvPr>
          <p:cNvSpPr/>
          <p:nvPr/>
        </p:nvSpPr>
        <p:spPr>
          <a:xfrm>
            <a:off x="4152892" y="1208985"/>
            <a:ext cx="1295406" cy="1295406"/>
          </a:xfrm>
          <a:prstGeom prst="ellipse">
            <a:avLst/>
          </a:prstGeom>
          <a:solidFill>
            <a:srgbClr val="FFFFFF"/>
          </a:solid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sp>
        <p:nvSpPr>
          <p:cNvPr id="20" name="Oval 19">
            <a:extLst>
              <a:ext uri="{FF2B5EF4-FFF2-40B4-BE49-F238E27FC236}">
                <a16:creationId xmlns:a16="http://schemas.microsoft.com/office/drawing/2014/main" id="{020CF6FE-2395-49CE-B889-4F8964662740}"/>
              </a:ext>
            </a:extLst>
          </p:cNvPr>
          <p:cNvSpPr/>
          <p:nvPr/>
        </p:nvSpPr>
        <p:spPr>
          <a:xfrm>
            <a:off x="287840" y="1208985"/>
            <a:ext cx="1295406" cy="1295406"/>
          </a:xfrm>
          <a:prstGeom prst="ellipse">
            <a:avLst/>
          </a:prstGeom>
          <a:solidFill>
            <a:srgbClr val="FFFFFF"/>
          </a:solid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solidFill>
                <a:srgbClr val="FFFFFF"/>
              </a:solidFill>
            </a:endParaRPr>
          </a:p>
        </p:txBody>
      </p:sp>
      <p:grpSp>
        <p:nvGrpSpPr>
          <p:cNvPr id="21" name="Group 20">
            <a:extLst>
              <a:ext uri="{FF2B5EF4-FFF2-40B4-BE49-F238E27FC236}">
                <a16:creationId xmlns:a16="http://schemas.microsoft.com/office/drawing/2014/main" id="{DD3C469C-BDEF-4AE1-B5B9-CFC2302046D5}"/>
              </a:ext>
            </a:extLst>
          </p:cNvPr>
          <p:cNvGrpSpPr>
            <a:grpSpLocks noChangeAspect="1"/>
          </p:cNvGrpSpPr>
          <p:nvPr/>
        </p:nvGrpSpPr>
        <p:grpSpPr>
          <a:xfrm>
            <a:off x="372878" y="1294023"/>
            <a:ext cx="1125329" cy="1125329"/>
            <a:chOff x="1983582" y="2081213"/>
            <a:chExt cx="1647825" cy="1647825"/>
          </a:xfrm>
        </p:grpSpPr>
        <p:sp>
          <p:nvSpPr>
            <p:cNvPr id="22" name="AutoShape 5">
              <a:extLst>
                <a:ext uri="{FF2B5EF4-FFF2-40B4-BE49-F238E27FC236}">
                  <a16:creationId xmlns:a16="http://schemas.microsoft.com/office/drawing/2014/main" id="{4283DBAA-B7D4-4607-B4F5-CFD7A09A0A7B}"/>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3" name="Group 22">
              <a:extLst>
                <a:ext uri="{FF2B5EF4-FFF2-40B4-BE49-F238E27FC236}">
                  <a16:creationId xmlns:a16="http://schemas.microsoft.com/office/drawing/2014/main" id="{4A8D9993-436E-4C24-9387-39FF7A05A838}"/>
                </a:ext>
              </a:extLst>
            </p:cNvPr>
            <p:cNvGrpSpPr/>
            <p:nvPr/>
          </p:nvGrpSpPr>
          <p:grpSpPr>
            <a:xfrm>
              <a:off x="2145507" y="2316163"/>
              <a:ext cx="1323975" cy="1176338"/>
              <a:chOff x="2145507" y="2316163"/>
              <a:chExt cx="1323975" cy="1176338"/>
            </a:xfrm>
          </p:grpSpPr>
          <p:sp>
            <p:nvSpPr>
              <p:cNvPr id="24" name="Freeform 7">
                <a:extLst>
                  <a:ext uri="{FF2B5EF4-FFF2-40B4-BE49-F238E27FC236}">
                    <a16:creationId xmlns:a16="http://schemas.microsoft.com/office/drawing/2014/main" id="{384B45DA-FAF9-4FC0-B116-133CE849D280}"/>
                  </a:ext>
                </a:extLst>
              </p:cNvPr>
              <p:cNvSpPr>
                <a:spLocks noEditPoints="1"/>
              </p:cNvSpPr>
              <p:nvPr/>
            </p:nvSpPr>
            <p:spPr bwMode="auto">
              <a:xfrm>
                <a:off x="2145507" y="2316163"/>
                <a:ext cx="1323975" cy="1176338"/>
              </a:xfrm>
              <a:custGeom>
                <a:avLst/>
                <a:gdLst>
                  <a:gd name="T0" fmla="*/ 1626 w 1850"/>
                  <a:gd name="T1" fmla="*/ 771 h 1644"/>
                  <a:gd name="T2" fmla="*/ 1507 w 1850"/>
                  <a:gd name="T3" fmla="*/ 764 h 1644"/>
                  <a:gd name="T4" fmla="*/ 1431 w 1850"/>
                  <a:gd name="T5" fmla="*/ 571 h 1644"/>
                  <a:gd name="T6" fmla="*/ 1496 w 1850"/>
                  <a:gd name="T7" fmla="*/ 528 h 1644"/>
                  <a:gd name="T8" fmla="*/ 1592 w 1850"/>
                  <a:gd name="T9" fmla="*/ 418 h 1644"/>
                  <a:gd name="T10" fmla="*/ 1462 w 1850"/>
                  <a:gd name="T11" fmla="*/ 470 h 1644"/>
                  <a:gd name="T12" fmla="*/ 1393 w 1850"/>
                  <a:gd name="T13" fmla="*/ 506 h 1644"/>
                  <a:gd name="T14" fmla="*/ 1268 w 1850"/>
                  <a:gd name="T15" fmla="*/ 348 h 1644"/>
                  <a:gd name="T16" fmla="*/ 1322 w 1850"/>
                  <a:gd name="T17" fmla="*/ 242 h 1644"/>
                  <a:gd name="T18" fmla="*/ 1401 w 1850"/>
                  <a:gd name="T19" fmla="*/ 44 h 1644"/>
                  <a:gd name="T20" fmla="*/ 1233 w 1850"/>
                  <a:gd name="T21" fmla="*/ 190 h 1644"/>
                  <a:gd name="T22" fmla="*/ 1168 w 1850"/>
                  <a:gd name="T23" fmla="*/ 289 h 1644"/>
                  <a:gd name="T24" fmla="*/ 962 w 1850"/>
                  <a:gd name="T25" fmla="*/ 254 h 1644"/>
                  <a:gd name="T26" fmla="*/ 958 w 1850"/>
                  <a:gd name="T27" fmla="*/ 178 h 1644"/>
                  <a:gd name="T28" fmla="*/ 938 w 1850"/>
                  <a:gd name="T29" fmla="*/ 42 h 1644"/>
                  <a:gd name="T30" fmla="*/ 892 w 1850"/>
                  <a:gd name="T31" fmla="*/ 178 h 1644"/>
                  <a:gd name="T32" fmla="*/ 888 w 1850"/>
                  <a:gd name="T33" fmla="*/ 254 h 1644"/>
                  <a:gd name="T34" fmla="*/ 682 w 1850"/>
                  <a:gd name="T35" fmla="*/ 289 h 1644"/>
                  <a:gd name="T36" fmla="*/ 617 w 1850"/>
                  <a:gd name="T37" fmla="*/ 190 h 1644"/>
                  <a:gd name="T38" fmla="*/ 449 w 1850"/>
                  <a:gd name="T39" fmla="*/ 44 h 1644"/>
                  <a:gd name="T40" fmla="*/ 528 w 1850"/>
                  <a:gd name="T41" fmla="*/ 242 h 1644"/>
                  <a:gd name="T42" fmla="*/ 582 w 1850"/>
                  <a:gd name="T43" fmla="*/ 348 h 1644"/>
                  <a:gd name="T44" fmla="*/ 456 w 1850"/>
                  <a:gd name="T45" fmla="*/ 505 h 1644"/>
                  <a:gd name="T46" fmla="*/ 387 w 1850"/>
                  <a:gd name="T47" fmla="*/ 470 h 1644"/>
                  <a:gd name="T48" fmla="*/ 258 w 1850"/>
                  <a:gd name="T49" fmla="*/ 418 h 1644"/>
                  <a:gd name="T50" fmla="*/ 353 w 1850"/>
                  <a:gd name="T51" fmla="*/ 528 h 1644"/>
                  <a:gd name="T52" fmla="*/ 418 w 1850"/>
                  <a:gd name="T53" fmla="*/ 570 h 1644"/>
                  <a:gd name="T54" fmla="*/ 343 w 1850"/>
                  <a:gd name="T55" fmla="*/ 764 h 1644"/>
                  <a:gd name="T56" fmla="*/ 224 w 1850"/>
                  <a:gd name="T57" fmla="*/ 771 h 1644"/>
                  <a:gd name="T58" fmla="*/ 13 w 1850"/>
                  <a:gd name="T59" fmla="*/ 802 h 1644"/>
                  <a:gd name="T60" fmla="*/ 224 w 1850"/>
                  <a:gd name="T61" fmla="*/ 873 h 1644"/>
                  <a:gd name="T62" fmla="*/ 343 w 1850"/>
                  <a:gd name="T63" fmla="*/ 880 h 1644"/>
                  <a:gd name="T64" fmla="*/ 415 w 1850"/>
                  <a:gd name="T65" fmla="*/ 1076 h 1644"/>
                  <a:gd name="T66" fmla="*/ 352 w 1850"/>
                  <a:gd name="T67" fmla="*/ 1118 h 1644"/>
                  <a:gd name="T68" fmla="*/ 258 w 1850"/>
                  <a:gd name="T69" fmla="*/ 1226 h 1644"/>
                  <a:gd name="T70" fmla="*/ 385 w 1850"/>
                  <a:gd name="T71" fmla="*/ 1175 h 1644"/>
                  <a:gd name="T72" fmla="*/ 453 w 1850"/>
                  <a:gd name="T73" fmla="*/ 1140 h 1644"/>
                  <a:gd name="T74" fmla="*/ 582 w 1850"/>
                  <a:gd name="T75" fmla="*/ 1296 h 1644"/>
                  <a:gd name="T76" fmla="*/ 528 w 1850"/>
                  <a:gd name="T77" fmla="*/ 1402 h 1644"/>
                  <a:gd name="T78" fmla="*/ 449 w 1850"/>
                  <a:gd name="T79" fmla="*/ 1600 h 1644"/>
                  <a:gd name="T80" fmla="*/ 617 w 1850"/>
                  <a:gd name="T81" fmla="*/ 1454 h 1644"/>
                  <a:gd name="T82" fmla="*/ 682 w 1850"/>
                  <a:gd name="T83" fmla="*/ 1355 h 1644"/>
                  <a:gd name="T84" fmla="*/ 888 w 1850"/>
                  <a:gd name="T85" fmla="*/ 1390 h 1644"/>
                  <a:gd name="T86" fmla="*/ 892 w 1850"/>
                  <a:gd name="T87" fmla="*/ 1466 h 1644"/>
                  <a:gd name="T88" fmla="*/ 912 w 1850"/>
                  <a:gd name="T89" fmla="*/ 1602 h 1644"/>
                  <a:gd name="T90" fmla="*/ 958 w 1850"/>
                  <a:gd name="T91" fmla="*/ 1466 h 1644"/>
                  <a:gd name="T92" fmla="*/ 962 w 1850"/>
                  <a:gd name="T93" fmla="*/ 1390 h 1644"/>
                  <a:gd name="T94" fmla="*/ 1168 w 1850"/>
                  <a:gd name="T95" fmla="*/ 1355 h 1644"/>
                  <a:gd name="T96" fmla="*/ 1233 w 1850"/>
                  <a:gd name="T97" fmla="*/ 1454 h 1644"/>
                  <a:gd name="T98" fmla="*/ 1401 w 1850"/>
                  <a:gd name="T99" fmla="*/ 1600 h 1644"/>
                  <a:gd name="T100" fmla="*/ 1322 w 1850"/>
                  <a:gd name="T101" fmla="*/ 1402 h 1644"/>
                  <a:gd name="T102" fmla="*/ 1268 w 1850"/>
                  <a:gd name="T103" fmla="*/ 1296 h 1644"/>
                  <a:gd name="T104" fmla="*/ 1393 w 1850"/>
                  <a:gd name="T105" fmla="*/ 1139 h 1644"/>
                  <a:gd name="T106" fmla="*/ 1463 w 1850"/>
                  <a:gd name="T107" fmla="*/ 1174 h 1644"/>
                  <a:gd name="T108" fmla="*/ 1592 w 1850"/>
                  <a:gd name="T109" fmla="*/ 1226 h 1644"/>
                  <a:gd name="T110" fmla="*/ 1496 w 1850"/>
                  <a:gd name="T111" fmla="*/ 1116 h 1644"/>
                  <a:gd name="T112" fmla="*/ 1432 w 1850"/>
                  <a:gd name="T113" fmla="*/ 1073 h 1644"/>
                  <a:gd name="T114" fmla="*/ 1507 w 1850"/>
                  <a:gd name="T115" fmla="*/ 880 h 1644"/>
                  <a:gd name="T116" fmla="*/ 1626 w 1850"/>
                  <a:gd name="T117" fmla="*/ 873 h 1644"/>
                  <a:gd name="T118" fmla="*/ 1837 w 1850"/>
                  <a:gd name="T119" fmla="*/ 842 h 1644"/>
                  <a:gd name="T120" fmla="*/ 445 w 1850"/>
                  <a:gd name="T121" fmla="*/ 822 h 1644"/>
                  <a:gd name="T122" fmla="*/ 925 w 1850"/>
                  <a:gd name="T123" fmla="*/ 1302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50" h="1644">
                    <a:moveTo>
                      <a:pt x="1737" y="720"/>
                    </a:moveTo>
                    <a:cubicBezTo>
                      <a:pt x="1710" y="720"/>
                      <a:pt x="1686" y="731"/>
                      <a:pt x="1668" y="748"/>
                    </a:cubicBezTo>
                    <a:cubicBezTo>
                      <a:pt x="1656" y="759"/>
                      <a:pt x="1642" y="767"/>
                      <a:pt x="1626" y="771"/>
                    </a:cubicBezTo>
                    <a:cubicBezTo>
                      <a:pt x="1603" y="777"/>
                      <a:pt x="1603" y="777"/>
                      <a:pt x="1603" y="777"/>
                    </a:cubicBezTo>
                    <a:cubicBezTo>
                      <a:pt x="1579" y="783"/>
                      <a:pt x="1553" y="781"/>
                      <a:pt x="1530" y="773"/>
                    </a:cubicBezTo>
                    <a:cubicBezTo>
                      <a:pt x="1507" y="764"/>
                      <a:pt x="1507" y="764"/>
                      <a:pt x="1507" y="764"/>
                    </a:cubicBezTo>
                    <a:cubicBezTo>
                      <a:pt x="1507" y="764"/>
                      <a:pt x="1469" y="737"/>
                      <a:pt x="1449" y="704"/>
                    </a:cubicBezTo>
                    <a:cubicBezTo>
                      <a:pt x="1442" y="672"/>
                      <a:pt x="1432" y="641"/>
                      <a:pt x="1419" y="611"/>
                    </a:cubicBezTo>
                    <a:cubicBezTo>
                      <a:pt x="1423" y="590"/>
                      <a:pt x="1431" y="571"/>
                      <a:pt x="1431" y="571"/>
                    </a:cubicBezTo>
                    <a:cubicBezTo>
                      <a:pt x="1441" y="559"/>
                      <a:pt x="1441" y="559"/>
                      <a:pt x="1441" y="559"/>
                    </a:cubicBezTo>
                    <a:cubicBezTo>
                      <a:pt x="1451" y="547"/>
                      <a:pt x="1466" y="537"/>
                      <a:pt x="1481" y="533"/>
                    </a:cubicBezTo>
                    <a:cubicBezTo>
                      <a:pt x="1496" y="528"/>
                      <a:pt x="1496" y="528"/>
                      <a:pt x="1496" y="528"/>
                    </a:cubicBezTo>
                    <a:cubicBezTo>
                      <a:pt x="1506" y="526"/>
                      <a:pt x="1517" y="526"/>
                      <a:pt x="1527" y="528"/>
                    </a:cubicBezTo>
                    <a:cubicBezTo>
                      <a:pt x="1543" y="532"/>
                      <a:pt x="1561" y="529"/>
                      <a:pt x="1576" y="521"/>
                    </a:cubicBezTo>
                    <a:cubicBezTo>
                      <a:pt x="1612" y="500"/>
                      <a:pt x="1621" y="451"/>
                      <a:pt x="1592" y="418"/>
                    </a:cubicBezTo>
                    <a:cubicBezTo>
                      <a:pt x="1575" y="398"/>
                      <a:pt x="1546" y="390"/>
                      <a:pt x="1520" y="399"/>
                    </a:cubicBezTo>
                    <a:cubicBezTo>
                      <a:pt x="1499" y="407"/>
                      <a:pt x="1484" y="424"/>
                      <a:pt x="1478" y="444"/>
                    </a:cubicBezTo>
                    <a:cubicBezTo>
                      <a:pt x="1475" y="454"/>
                      <a:pt x="1470" y="463"/>
                      <a:pt x="1462" y="470"/>
                    </a:cubicBezTo>
                    <a:cubicBezTo>
                      <a:pt x="1451" y="481"/>
                      <a:pt x="1451" y="481"/>
                      <a:pt x="1451" y="481"/>
                    </a:cubicBezTo>
                    <a:cubicBezTo>
                      <a:pt x="1440" y="493"/>
                      <a:pt x="1424" y="501"/>
                      <a:pt x="1409" y="503"/>
                    </a:cubicBezTo>
                    <a:cubicBezTo>
                      <a:pt x="1393" y="506"/>
                      <a:pt x="1393" y="506"/>
                      <a:pt x="1393" y="506"/>
                    </a:cubicBezTo>
                    <a:cubicBezTo>
                      <a:pt x="1393" y="506"/>
                      <a:pt x="1372" y="504"/>
                      <a:pt x="1352" y="496"/>
                    </a:cubicBezTo>
                    <a:cubicBezTo>
                      <a:pt x="1334" y="472"/>
                      <a:pt x="1313" y="449"/>
                      <a:pt x="1291" y="429"/>
                    </a:cubicBezTo>
                    <a:cubicBezTo>
                      <a:pt x="1272" y="394"/>
                      <a:pt x="1268" y="348"/>
                      <a:pt x="1268" y="348"/>
                    </a:cubicBezTo>
                    <a:cubicBezTo>
                      <a:pt x="1272" y="324"/>
                      <a:pt x="1272" y="324"/>
                      <a:pt x="1272" y="324"/>
                    </a:cubicBezTo>
                    <a:cubicBezTo>
                      <a:pt x="1276" y="300"/>
                      <a:pt x="1288" y="276"/>
                      <a:pt x="1305" y="259"/>
                    </a:cubicBezTo>
                    <a:cubicBezTo>
                      <a:pt x="1322" y="242"/>
                      <a:pt x="1322" y="242"/>
                      <a:pt x="1322" y="242"/>
                    </a:cubicBezTo>
                    <a:cubicBezTo>
                      <a:pt x="1333" y="230"/>
                      <a:pt x="1347" y="222"/>
                      <a:pt x="1363" y="218"/>
                    </a:cubicBezTo>
                    <a:cubicBezTo>
                      <a:pt x="1392" y="209"/>
                      <a:pt x="1418" y="187"/>
                      <a:pt x="1430" y="154"/>
                    </a:cubicBezTo>
                    <a:cubicBezTo>
                      <a:pt x="1444" y="115"/>
                      <a:pt x="1432" y="71"/>
                      <a:pt x="1401" y="44"/>
                    </a:cubicBezTo>
                    <a:cubicBezTo>
                      <a:pt x="1351" y="0"/>
                      <a:pt x="1277" y="14"/>
                      <a:pt x="1245" y="69"/>
                    </a:cubicBezTo>
                    <a:cubicBezTo>
                      <a:pt x="1232" y="92"/>
                      <a:pt x="1229" y="119"/>
                      <a:pt x="1234" y="143"/>
                    </a:cubicBezTo>
                    <a:cubicBezTo>
                      <a:pt x="1238" y="159"/>
                      <a:pt x="1238" y="175"/>
                      <a:pt x="1233" y="190"/>
                    </a:cubicBezTo>
                    <a:cubicBezTo>
                      <a:pt x="1227" y="213"/>
                      <a:pt x="1227" y="213"/>
                      <a:pt x="1227" y="213"/>
                    </a:cubicBezTo>
                    <a:cubicBezTo>
                      <a:pt x="1220" y="237"/>
                      <a:pt x="1206" y="259"/>
                      <a:pt x="1187" y="274"/>
                    </a:cubicBezTo>
                    <a:cubicBezTo>
                      <a:pt x="1168" y="289"/>
                      <a:pt x="1168" y="289"/>
                      <a:pt x="1168" y="289"/>
                    </a:cubicBezTo>
                    <a:cubicBezTo>
                      <a:pt x="1168" y="289"/>
                      <a:pt x="1126" y="309"/>
                      <a:pt x="1087" y="309"/>
                    </a:cubicBezTo>
                    <a:cubicBezTo>
                      <a:pt x="1058" y="300"/>
                      <a:pt x="1029" y="294"/>
                      <a:pt x="998" y="290"/>
                    </a:cubicBezTo>
                    <a:cubicBezTo>
                      <a:pt x="978" y="276"/>
                      <a:pt x="962" y="254"/>
                      <a:pt x="962" y="254"/>
                    </a:cubicBezTo>
                    <a:cubicBezTo>
                      <a:pt x="957" y="239"/>
                      <a:pt x="957" y="239"/>
                      <a:pt x="957" y="239"/>
                    </a:cubicBezTo>
                    <a:cubicBezTo>
                      <a:pt x="951" y="225"/>
                      <a:pt x="950" y="208"/>
                      <a:pt x="954" y="193"/>
                    </a:cubicBezTo>
                    <a:cubicBezTo>
                      <a:pt x="958" y="178"/>
                      <a:pt x="958" y="178"/>
                      <a:pt x="958" y="178"/>
                    </a:cubicBezTo>
                    <a:cubicBezTo>
                      <a:pt x="960" y="168"/>
                      <a:pt x="966" y="159"/>
                      <a:pt x="973" y="151"/>
                    </a:cubicBezTo>
                    <a:cubicBezTo>
                      <a:pt x="986" y="137"/>
                      <a:pt x="993" y="116"/>
                      <a:pt x="989" y="94"/>
                    </a:cubicBezTo>
                    <a:cubicBezTo>
                      <a:pt x="985" y="68"/>
                      <a:pt x="964" y="47"/>
                      <a:pt x="938" y="42"/>
                    </a:cubicBezTo>
                    <a:cubicBezTo>
                      <a:pt x="896" y="34"/>
                      <a:pt x="860" y="66"/>
                      <a:pt x="860" y="106"/>
                    </a:cubicBezTo>
                    <a:cubicBezTo>
                      <a:pt x="860" y="124"/>
                      <a:pt x="866" y="139"/>
                      <a:pt x="877" y="151"/>
                    </a:cubicBezTo>
                    <a:cubicBezTo>
                      <a:pt x="884" y="159"/>
                      <a:pt x="890" y="168"/>
                      <a:pt x="892" y="178"/>
                    </a:cubicBezTo>
                    <a:cubicBezTo>
                      <a:pt x="896" y="193"/>
                      <a:pt x="896" y="193"/>
                      <a:pt x="896" y="193"/>
                    </a:cubicBezTo>
                    <a:cubicBezTo>
                      <a:pt x="900" y="208"/>
                      <a:pt x="899" y="225"/>
                      <a:pt x="893" y="239"/>
                    </a:cubicBezTo>
                    <a:cubicBezTo>
                      <a:pt x="888" y="254"/>
                      <a:pt x="888" y="254"/>
                      <a:pt x="888" y="254"/>
                    </a:cubicBezTo>
                    <a:cubicBezTo>
                      <a:pt x="888" y="254"/>
                      <a:pt x="872" y="276"/>
                      <a:pt x="852" y="290"/>
                    </a:cubicBezTo>
                    <a:cubicBezTo>
                      <a:pt x="821" y="294"/>
                      <a:pt x="792" y="300"/>
                      <a:pt x="763" y="309"/>
                    </a:cubicBezTo>
                    <a:cubicBezTo>
                      <a:pt x="724" y="309"/>
                      <a:pt x="682" y="289"/>
                      <a:pt x="682" y="289"/>
                    </a:cubicBezTo>
                    <a:cubicBezTo>
                      <a:pt x="663" y="274"/>
                      <a:pt x="663" y="274"/>
                      <a:pt x="663" y="274"/>
                    </a:cubicBezTo>
                    <a:cubicBezTo>
                      <a:pt x="644" y="259"/>
                      <a:pt x="630" y="237"/>
                      <a:pt x="623" y="213"/>
                    </a:cubicBezTo>
                    <a:cubicBezTo>
                      <a:pt x="617" y="190"/>
                      <a:pt x="617" y="190"/>
                      <a:pt x="617" y="190"/>
                    </a:cubicBezTo>
                    <a:cubicBezTo>
                      <a:pt x="612" y="175"/>
                      <a:pt x="612" y="159"/>
                      <a:pt x="616" y="143"/>
                    </a:cubicBezTo>
                    <a:cubicBezTo>
                      <a:pt x="621" y="119"/>
                      <a:pt x="618" y="92"/>
                      <a:pt x="605" y="69"/>
                    </a:cubicBezTo>
                    <a:cubicBezTo>
                      <a:pt x="573" y="14"/>
                      <a:pt x="499" y="0"/>
                      <a:pt x="449" y="44"/>
                    </a:cubicBezTo>
                    <a:cubicBezTo>
                      <a:pt x="418" y="71"/>
                      <a:pt x="406" y="115"/>
                      <a:pt x="420" y="154"/>
                    </a:cubicBezTo>
                    <a:cubicBezTo>
                      <a:pt x="432" y="187"/>
                      <a:pt x="458" y="209"/>
                      <a:pt x="487" y="218"/>
                    </a:cubicBezTo>
                    <a:cubicBezTo>
                      <a:pt x="503" y="222"/>
                      <a:pt x="517" y="230"/>
                      <a:pt x="528" y="242"/>
                    </a:cubicBezTo>
                    <a:cubicBezTo>
                      <a:pt x="545" y="259"/>
                      <a:pt x="545" y="259"/>
                      <a:pt x="545" y="259"/>
                    </a:cubicBezTo>
                    <a:cubicBezTo>
                      <a:pt x="562" y="276"/>
                      <a:pt x="574" y="300"/>
                      <a:pt x="578" y="324"/>
                    </a:cubicBezTo>
                    <a:cubicBezTo>
                      <a:pt x="582" y="348"/>
                      <a:pt x="582" y="348"/>
                      <a:pt x="582" y="348"/>
                    </a:cubicBezTo>
                    <a:cubicBezTo>
                      <a:pt x="582" y="348"/>
                      <a:pt x="578" y="394"/>
                      <a:pt x="559" y="429"/>
                    </a:cubicBezTo>
                    <a:cubicBezTo>
                      <a:pt x="537" y="449"/>
                      <a:pt x="517" y="471"/>
                      <a:pt x="499" y="495"/>
                    </a:cubicBezTo>
                    <a:cubicBezTo>
                      <a:pt x="478" y="503"/>
                      <a:pt x="456" y="505"/>
                      <a:pt x="456" y="505"/>
                    </a:cubicBezTo>
                    <a:cubicBezTo>
                      <a:pt x="440" y="503"/>
                      <a:pt x="440" y="503"/>
                      <a:pt x="440" y="503"/>
                    </a:cubicBezTo>
                    <a:cubicBezTo>
                      <a:pt x="425" y="500"/>
                      <a:pt x="409" y="492"/>
                      <a:pt x="398" y="481"/>
                    </a:cubicBezTo>
                    <a:cubicBezTo>
                      <a:pt x="387" y="470"/>
                      <a:pt x="387" y="470"/>
                      <a:pt x="387" y="470"/>
                    </a:cubicBezTo>
                    <a:cubicBezTo>
                      <a:pt x="379" y="463"/>
                      <a:pt x="374" y="454"/>
                      <a:pt x="371" y="444"/>
                    </a:cubicBezTo>
                    <a:cubicBezTo>
                      <a:pt x="365" y="424"/>
                      <a:pt x="351" y="407"/>
                      <a:pt x="329" y="400"/>
                    </a:cubicBezTo>
                    <a:cubicBezTo>
                      <a:pt x="304" y="391"/>
                      <a:pt x="275" y="398"/>
                      <a:pt x="258" y="418"/>
                    </a:cubicBezTo>
                    <a:cubicBezTo>
                      <a:pt x="229" y="451"/>
                      <a:pt x="238" y="499"/>
                      <a:pt x="274" y="520"/>
                    </a:cubicBezTo>
                    <a:cubicBezTo>
                      <a:pt x="289" y="529"/>
                      <a:pt x="306" y="531"/>
                      <a:pt x="322" y="527"/>
                    </a:cubicBezTo>
                    <a:cubicBezTo>
                      <a:pt x="332" y="525"/>
                      <a:pt x="343" y="525"/>
                      <a:pt x="353" y="528"/>
                    </a:cubicBezTo>
                    <a:cubicBezTo>
                      <a:pt x="368" y="532"/>
                      <a:pt x="368" y="532"/>
                      <a:pt x="368" y="532"/>
                    </a:cubicBezTo>
                    <a:cubicBezTo>
                      <a:pt x="383" y="536"/>
                      <a:pt x="398" y="546"/>
                      <a:pt x="408" y="558"/>
                    </a:cubicBezTo>
                    <a:cubicBezTo>
                      <a:pt x="418" y="570"/>
                      <a:pt x="418" y="570"/>
                      <a:pt x="418" y="570"/>
                    </a:cubicBezTo>
                    <a:cubicBezTo>
                      <a:pt x="418" y="570"/>
                      <a:pt x="427" y="591"/>
                      <a:pt x="430" y="613"/>
                    </a:cubicBezTo>
                    <a:cubicBezTo>
                      <a:pt x="418" y="642"/>
                      <a:pt x="408" y="672"/>
                      <a:pt x="401" y="704"/>
                    </a:cubicBezTo>
                    <a:cubicBezTo>
                      <a:pt x="381" y="737"/>
                      <a:pt x="343" y="764"/>
                      <a:pt x="343" y="764"/>
                    </a:cubicBezTo>
                    <a:cubicBezTo>
                      <a:pt x="320" y="773"/>
                      <a:pt x="320" y="773"/>
                      <a:pt x="320" y="773"/>
                    </a:cubicBezTo>
                    <a:cubicBezTo>
                      <a:pt x="297" y="781"/>
                      <a:pt x="271" y="783"/>
                      <a:pt x="247" y="777"/>
                    </a:cubicBezTo>
                    <a:cubicBezTo>
                      <a:pt x="224" y="771"/>
                      <a:pt x="224" y="771"/>
                      <a:pt x="224" y="771"/>
                    </a:cubicBezTo>
                    <a:cubicBezTo>
                      <a:pt x="208" y="767"/>
                      <a:pt x="194" y="759"/>
                      <a:pt x="183" y="748"/>
                    </a:cubicBezTo>
                    <a:cubicBezTo>
                      <a:pt x="160" y="727"/>
                      <a:pt x="128" y="716"/>
                      <a:pt x="93" y="722"/>
                    </a:cubicBezTo>
                    <a:cubicBezTo>
                      <a:pt x="53" y="729"/>
                      <a:pt x="21" y="761"/>
                      <a:pt x="13" y="802"/>
                    </a:cubicBezTo>
                    <a:cubicBezTo>
                      <a:pt x="0" y="867"/>
                      <a:pt x="50" y="924"/>
                      <a:pt x="113" y="924"/>
                    </a:cubicBezTo>
                    <a:cubicBezTo>
                      <a:pt x="140" y="924"/>
                      <a:pt x="164" y="913"/>
                      <a:pt x="182" y="896"/>
                    </a:cubicBezTo>
                    <a:cubicBezTo>
                      <a:pt x="194" y="885"/>
                      <a:pt x="208" y="877"/>
                      <a:pt x="224" y="873"/>
                    </a:cubicBezTo>
                    <a:cubicBezTo>
                      <a:pt x="247" y="867"/>
                      <a:pt x="247" y="867"/>
                      <a:pt x="247" y="867"/>
                    </a:cubicBezTo>
                    <a:cubicBezTo>
                      <a:pt x="271" y="861"/>
                      <a:pt x="297" y="863"/>
                      <a:pt x="320" y="871"/>
                    </a:cubicBezTo>
                    <a:cubicBezTo>
                      <a:pt x="343" y="880"/>
                      <a:pt x="343" y="880"/>
                      <a:pt x="343" y="880"/>
                    </a:cubicBezTo>
                    <a:cubicBezTo>
                      <a:pt x="343" y="880"/>
                      <a:pt x="381" y="907"/>
                      <a:pt x="401" y="940"/>
                    </a:cubicBezTo>
                    <a:cubicBezTo>
                      <a:pt x="407" y="970"/>
                      <a:pt x="417" y="999"/>
                      <a:pt x="428" y="1026"/>
                    </a:cubicBezTo>
                    <a:cubicBezTo>
                      <a:pt x="427" y="1051"/>
                      <a:pt x="415" y="1076"/>
                      <a:pt x="415" y="1076"/>
                    </a:cubicBezTo>
                    <a:cubicBezTo>
                      <a:pt x="405" y="1088"/>
                      <a:pt x="405" y="1088"/>
                      <a:pt x="405" y="1088"/>
                    </a:cubicBezTo>
                    <a:cubicBezTo>
                      <a:pt x="396" y="1100"/>
                      <a:pt x="381" y="1109"/>
                      <a:pt x="366" y="1114"/>
                    </a:cubicBezTo>
                    <a:cubicBezTo>
                      <a:pt x="352" y="1118"/>
                      <a:pt x="352" y="1118"/>
                      <a:pt x="352" y="1118"/>
                    </a:cubicBezTo>
                    <a:cubicBezTo>
                      <a:pt x="342" y="1121"/>
                      <a:pt x="331" y="1121"/>
                      <a:pt x="321" y="1118"/>
                    </a:cubicBezTo>
                    <a:cubicBezTo>
                      <a:pt x="305" y="1115"/>
                      <a:pt x="288" y="1117"/>
                      <a:pt x="274" y="1125"/>
                    </a:cubicBezTo>
                    <a:cubicBezTo>
                      <a:pt x="239" y="1146"/>
                      <a:pt x="229" y="1194"/>
                      <a:pt x="258" y="1226"/>
                    </a:cubicBezTo>
                    <a:cubicBezTo>
                      <a:pt x="275" y="1245"/>
                      <a:pt x="303" y="1253"/>
                      <a:pt x="328" y="1244"/>
                    </a:cubicBezTo>
                    <a:cubicBezTo>
                      <a:pt x="349" y="1236"/>
                      <a:pt x="364" y="1220"/>
                      <a:pt x="369" y="1201"/>
                    </a:cubicBezTo>
                    <a:cubicBezTo>
                      <a:pt x="372" y="1191"/>
                      <a:pt x="377" y="1182"/>
                      <a:pt x="385" y="1175"/>
                    </a:cubicBezTo>
                    <a:cubicBezTo>
                      <a:pt x="396" y="1164"/>
                      <a:pt x="396" y="1164"/>
                      <a:pt x="396" y="1164"/>
                    </a:cubicBezTo>
                    <a:cubicBezTo>
                      <a:pt x="407" y="1153"/>
                      <a:pt x="422" y="1145"/>
                      <a:pt x="437" y="1142"/>
                    </a:cubicBezTo>
                    <a:cubicBezTo>
                      <a:pt x="453" y="1140"/>
                      <a:pt x="453" y="1140"/>
                      <a:pt x="453" y="1140"/>
                    </a:cubicBezTo>
                    <a:cubicBezTo>
                      <a:pt x="453" y="1140"/>
                      <a:pt x="480" y="1142"/>
                      <a:pt x="502" y="1153"/>
                    </a:cubicBezTo>
                    <a:cubicBezTo>
                      <a:pt x="519" y="1175"/>
                      <a:pt x="538" y="1196"/>
                      <a:pt x="559" y="1215"/>
                    </a:cubicBezTo>
                    <a:cubicBezTo>
                      <a:pt x="578" y="1250"/>
                      <a:pt x="582" y="1296"/>
                      <a:pt x="582" y="1296"/>
                    </a:cubicBezTo>
                    <a:cubicBezTo>
                      <a:pt x="578" y="1320"/>
                      <a:pt x="578" y="1320"/>
                      <a:pt x="578" y="1320"/>
                    </a:cubicBezTo>
                    <a:cubicBezTo>
                      <a:pt x="574" y="1344"/>
                      <a:pt x="562" y="1368"/>
                      <a:pt x="545" y="1385"/>
                    </a:cubicBezTo>
                    <a:cubicBezTo>
                      <a:pt x="528" y="1402"/>
                      <a:pt x="528" y="1402"/>
                      <a:pt x="528" y="1402"/>
                    </a:cubicBezTo>
                    <a:cubicBezTo>
                      <a:pt x="517" y="1414"/>
                      <a:pt x="503" y="1422"/>
                      <a:pt x="487" y="1426"/>
                    </a:cubicBezTo>
                    <a:cubicBezTo>
                      <a:pt x="458" y="1435"/>
                      <a:pt x="432" y="1457"/>
                      <a:pt x="420" y="1490"/>
                    </a:cubicBezTo>
                    <a:cubicBezTo>
                      <a:pt x="406" y="1529"/>
                      <a:pt x="418" y="1573"/>
                      <a:pt x="449" y="1600"/>
                    </a:cubicBezTo>
                    <a:cubicBezTo>
                      <a:pt x="499" y="1644"/>
                      <a:pt x="573" y="1630"/>
                      <a:pt x="605" y="1575"/>
                    </a:cubicBezTo>
                    <a:cubicBezTo>
                      <a:pt x="618" y="1552"/>
                      <a:pt x="621" y="1525"/>
                      <a:pt x="616" y="1501"/>
                    </a:cubicBezTo>
                    <a:cubicBezTo>
                      <a:pt x="612" y="1485"/>
                      <a:pt x="612" y="1469"/>
                      <a:pt x="617" y="1454"/>
                    </a:cubicBezTo>
                    <a:cubicBezTo>
                      <a:pt x="623" y="1431"/>
                      <a:pt x="623" y="1431"/>
                      <a:pt x="623" y="1431"/>
                    </a:cubicBezTo>
                    <a:cubicBezTo>
                      <a:pt x="630" y="1407"/>
                      <a:pt x="644" y="1385"/>
                      <a:pt x="663" y="1370"/>
                    </a:cubicBezTo>
                    <a:cubicBezTo>
                      <a:pt x="682" y="1355"/>
                      <a:pt x="682" y="1355"/>
                      <a:pt x="682" y="1355"/>
                    </a:cubicBezTo>
                    <a:cubicBezTo>
                      <a:pt x="682" y="1355"/>
                      <a:pt x="724" y="1335"/>
                      <a:pt x="763" y="1335"/>
                    </a:cubicBezTo>
                    <a:cubicBezTo>
                      <a:pt x="792" y="1344"/>
                      <a:pt x="822" y="1350"/>
                      <a:pt x="852" y="1354"/>
                    </a:cubicBezTo>
                    <a:cubicBezTo>
                      <a:pt x="872" y="1368"/>
                      <a:pt x="888" y="1390"/>
                      <a:pt x="888" y="1390"/>
                    </a:cubicBezTo>
                    <a:cubicBezTo>
                      <a:pt x="893" y="1404"/>
                      <a:pt x="893" y="1404"/>
                      <a:pt x="893" y="1404"/>
                    </a:cubicBezTo>
                    <a:cubicBezTo>
                      <a:pt x="899" y="1419"/>
                      <a:pt x="900" y="1436"/>
                      <a:pt x="896" y="1451"/>
                    </a:cubicBezTo>
                    <a:cubicBezTo>
                      <a:pt x="892" y="1466"/>
                      <a:pt x="892" y="1466"/>
                      <a:pt x="892" y="1466"/>
                    </a:cubicBezTo>
                    <a:cubicBezTo>
                      <a:pt x="889" y="1476"/>
                      <a:pt x="884" y="1485"/>
                      <a:pt x="877" y="1493"/>
                    </a:cubicBezTo>
                    <a:cubicBezTo>
                      <a:pt x="864" y="1507"/>
                      <a:pt x="856" y="1528"/>
                      <a:pt x="861" y="1550"/>
                    </a:cubicBezTo>
                    <a:cubicBezTo>
                      <a:pt x="865" y="1576"/>
                      <a:pt x="886" y="1597"/>
                      <a:pt x="912" y="1602"/>
                    </a:cubicBezTo>
                    <a:cubicBezTo>
                      <a:pt x="954" y="1610"/>
                      <a:pt x="991" y="1578"/>
                      <a:pt x="991" y="1538"/>
                    </a:cubicBezTo>
                    <a:cubicBezTo>
                      <a:pt x="991" y="1520"/>
                      <a:pt x="984" y="1504"/>
                      <a:pt x="973" y="1493"/>
                    </a:cubicBezTo>
                    <a:cubicBezTo>
                      <a:pt x="966" y="1485"/>
                      <a:pt x="961" y="1476"/>
                      <a:pt x="958" y="1466"/>
                    </a:cubicBezTo>
                    <a:cubicBezTo>
                      <a:pt x="954" y="1451"/>
                      <a:pt x="954" y="1451"/>
                      <a:pt x="954" y="1451"/>
                    </a:cubicBezTo>
                    <a:cubicBezTo>
                      <a:pt x="950" y="1436"/>
                      <a:pt x="951" y="1419"/>
                      <a:pt x="957" y="1404"/>
                    </a:cubicBezTo>
                    <a:cubicBezTo>
                      <a:pt x="962" y="1390"/>
                      <a:pt x="962" y="1390"/>
                      <a:pt x="962" y="1390"/>
                    </a:cubicBezTo>
                    <a:cubicBezTo>
                      <a:pt x="962" y="1390"/>
                      <a:pt x="978" y="1368"/>
                      <a:pt x="998" y="1354"/>
                    </a:cubicBezTo>
                    <a:cubicBezTo>
                      <a:pt x="1028" y="1350"/>
                      <a:pt x="1058" y="1344"/>
                      <a:pt x="1087" y="1335"/>
                    </a:cubicBezTo>
                    <a:cubicBezTo>
                      <a:pt x="1126" y="1335"/>
                      <a:pt x="1168" y="1355"/>
                      <a:pt x="1168" y="1355"/>
                    </a:cubicBezTo>
                    <a:cubicBezTo>
                      <a:pt x="1187" y="1370"/>
                      <a:pt x="1187" y="1370"/>
                      <a:pt x="1187" y="1370"/>
                    </a:cubicBezTo>
                    <a:cubicBezTo>
                      <a:pt x="1206" y="1385"/>
                      <a:pt x="1220" y="1407"/>
                      <a:pt x="1227" y="1431"/>
                    </a:cubicBezTo>
                    <a:cubicBezTo>
                      <a:pt x="1233" y="1454"/>
                      <a:pt x="1233" y="1454"/>
                      <a:pt x="1233" y="1454"/>
                    </a:cubicBezTo>
                    <a:cubicBezTo>
                      <a:pt x="1238" y="1469"/>
                      <a:pt x="1238" y="1485"/>
                      <a:pt x="1234" y="1501"/>
                    </a:cubicBezTo>
                    <a:cubicBezTo>
                      <a:pt x="1229" y="1525"/>
                      <a:pt x="1232" y="1552"/>
                      <a:pt x="1245" y="1575"/>
                    </a:cubicBezTo>
                    <a:cubicBezTo>
                      <a:pt x="1277" y="1630"/>
                      <a:pt x="1351" y="1644"/>
                      <a:pt x="1401" y="1600"/>
                    </a:cubicBezTo>
                    <a:cubicBezTo>
                      <a:pt x="1432" y="1573"/>
                      <a:pt x="1444" y="1529"/>
                      <a:pt x="1430" y="1490"/>
                    </a:cubicBezTo>
                    <a:cubicBezTo>
                      <a:pt x="1418" y="1457"/>
                      <a:pt x="1392" y="1435"/>
                      <a:pt x="1363" y="1426"/>
                    </a:cubicBezTo>
                    <a:cubicBezTo>
                      <a:pt x="1347" y="1422"/>
                      <a:pt x="1333" y="1414"/>
                      <a:pt x="1322" y="1402"/>
                    </a:cubicBezTo>
                    <a:cubicBezTo>
                      <a:pt x="1305" y="1385"/>
                      <a:pt x="1305" y="1385"/>
                      <a:pt x="1305" y="1385"/>
                    </a:cubicBezTo>
                    <a:cubicBezTo>
                      <a:pt x="1288" y="1368"/>
                      <a:pt x="1276" y="1344"/>
                      <a:pt x="1272" y="1320"/>
                    </a:cubicBezTo>
                    <a:cubicBezTo>
                      <a:pt x="1268" y="1296"/>
                      <a:pt x="1268" y="1296"/>
                      <a:pt x="1268" y="1296"/>
                    </a:cubicBezTo>
                    <a:cubicBezTo>
                      <a:pt x="1268" y="1296"/>
                      <a:pt x="1272" y="1250"/>
                      <a:pt x="1291" y="1215"/>
                    </a:cubicBezTo>
                    <a:cubicBezTo>
                      <a:pt x="1313" y="1195"/>
                      <a:pt x="1334" y="1172"/>
                      <a:pt x="1352" y="1148"/>
                    </a:cubicBezTo>
                    <a:cubicBezTo>
                      <a:pt x="1372" y="1140"/>
                      <a:pt x="1393" y="1139"/>
                      <a:pt x="1393" y="1139"/>
                    </a:cubicBezTo>
                    <a:cubicBezTo>
                      <a:pt x="1409" y="1141"/>
                      <a:pt x="1409" y="1141"/>
                      <a:pt x="1409" y="1141"/>
                    </a:cubicBezTo>
                    <a:cubicBezTo>
                      <a:pt x="1425" y="1144"/>
                      <a:pt x="1440" y="1152"/>
                      <a:pt x="1452" y="1163"/>
                    </a:cubicBezTo>
                    <a:cubicBezTo>
                      <a:pt x="1463" y="1174"/>
                      <a:pt x="1463" y="1174"/>
                      <a:pt x="1463" y="1174"/>
                    </a:cubicBezTo>
                    <a:cubicBezTo>
                      <a:pt x="1470" y="1181"/>
                      <a:pt x="1476" y="1190"/>
                      <a:pt x="1479" y="1200"/>
                    </a:cubicBezTo>
                    <a:cubicBezTo>
                      <a:pt x="1484" y="1220"/>
                      <a:pt x="1499" y="1237"/>
                      <a:pt x="1520" y="1244"/>
                    </a:cubicBezTo>
                    <a:cubicBezTo>
                      <a:pt x="1546" y="1253"/>
                      <a:pt x="1575" y="1246"/>
                      <a:pt x="1592" y="1226"/>
                    </a:cubicBezTo>
                    <a:cubicBezTo>
                      <a:pt x="1621" y="1193"/>
                      <a:pt x="1612" y="1144"/>
                      <a:pt x="1576" y="1124"/>
                    </a:cubicBezTo>
                    <a:cubicBezTo>
                      <a:pt x="1561" y="1115"/>
                      <a:pt x="1543" y="1113"/>
                      <a:pt x="1528" y="1116"/>
                    </a:cubicBezTo>
                    <a:cubicBezTo>
                      <a:pt x="1517" y="1119"/>
                      <a:pt x="1507" y="1119"/>
                      <a:pt x="1496" y="1116"/>
                    </a:cubicBezTo>
                    <a:cubicBezTo>
                      <a:pt x="1482" y="1112"/>
                      <a:pt x="1482" y="1112"/>
                      <a:pt x="1482" y="1112"/>
                    </a:cubicBezTo>
                    <a:cubicBezTo>
                      <a:pt x="1466" y="1107"/>
                      <a:pt x="1451" y="1098"/>
                      <a:pt x="1442" y="1085"/>
                    </a:cubicBezTo>
                    <a:cubicBezTo>
                      <a:pt x="1432" y="1073"/>
                      <a:pt x="1432" y="1073"/>
                      <a:pt x="1432" y="1073"/>
                    </a:cubicBezTo>
                    <a:cubicBezTo>
                      <a:pt x="1432" y="1073"/>
                      <a:pt x="1423" y="1054"/>
                      <a:pt x="1420" y="1032"/>
                    </a:cubicBezTo>
                    <a:cubicBezTo>
                      <a:pt x="1432" y="1003"/>
                      <a:pt x="1442" y="972"/>
                      <a:pt x="1449" y="940"/>
                    </a:cubicBezTo>
                    <a:cubicBezTo>
                      <a:pt x="1469" y="907"/>
                      <a:pt x="1507" y="880"/>
                      <a:pt x="1507" y="880"/>
                    </a:cubicBezTo>
                    <a:cubicBezTo>
                      <a:pt x="1530" y="871"/>
                      <a:pt x="1530" y="871"/>
                      <a:pt x="1530" y="871"/>
                    </a:cubicBezTo>
                    <a:cubicBezTo>
                      <a:pt x="1553" y="863"/>
                      <a:pt x="1579" y="861"/>
                      <a:pt x="1603" y="867"/>
                    </a:cubicBezTo>
                    <a:cubicBezTo>
                      <a:pt x="1626" y="873"/>
                      <a:pt x="1626" y="873"/>
                      <a:pt x="1626" y="873"/>
                    </a:cubicBezTo>
                    <a:cubicBezTo>
                      <a:pt x="1642" y="877"/>
                      <a:pt x="1656" y="885"/>
                      <a:pt x="1667" y="896"/>
                    </a:cubicBezTo>
                    <a:cubicBezTo>
                      <a:pt x="1690" y="917"/>
                      <a:pt x="1722" y="928"/>
                      <a:pt x="1757" y="922"/>
                    </a:cubicBezTo>
                    <a:cubicBezTo>
                      <a:pt x="1797" y="915"/>
                      <a:pt x="1829" y="883"/>
                      <a:pt x="1837" y="842"/>
                    </a:cubicBezTo>
                    <a:cubicBezTo>
                      <a:pt x="1850" y="777"/>
                      <a:pt x="1800" y="720"/>
                      <a:pt x="1737" y="720"/>
                    </a:cubicBezTo>
                    <a:close/>
                    <a:moveTo>
                      <a:pt x="925" y="1302"/>
                    </a:moveTo>
                    <a:cubicBezTo>
                      <a:pt x="660" y="1302"/>
                      <a:pt x="445" y="1087"/>
                      <a:pt x="445" y="822"/>
                    </a:cubicBezTo>
                    <a:cubicBezTo>
                      <a:pt x="445" y="557"/>
                      <a:pt x="660" y="342"/>
                      <a:pt x="925" y="342"/>
                    </a:cubicBezTo>
                    <a:cubicBezTo>
                      <a:pt x="1190" y="342"/>
                      <a:pt x="1405" y="557"/>
                      <a:pt x="1405" y="822"/>
                    </a:cubicBezTo>
                    <a:cubicBezTo>
                      <a:pt x="1405" y="1087"/>
                      <a:pt x="1190" y="1302"/>
                      <a:pt x="925" y="1302"/>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5" name="Freeform 8">
                <a:extLst>
                  <a:ext uri="{FF2B5EF4-FFF2-40B4-BE49-F238E27FC236}">
                    <a16:creationId xmlns:a16="http://schemas.microsoft.com/office/drawing/2014/main" id="{B9365182-964C-484C-BAF0-F2DF4E858F25}"/>
                  </a:ext>
                </a:extLst>
              </p:cNvPr>
              <p:cNvSpPr>
                <a:spLocks noEditPoints="1"/>
              </p:cNvSpPr>
              <p:nvPr/>
            </p:nvSpPr>
            <p:spPr bwMode="auto">
              <a:xfrm>
                <a:off x="2496345" y="2592388"/>
                <a:ext cx="622300" cy="623888"/>
              </a:xfrm>
              <a:custGeom>
                <a:avLst/>
                <a:gdLst>
                  <a:gd name="T0" fmla="*/ 744 w 872"/>
                  <a:gd name="T1" fmla="*/ 128 h 872"/>
                  <a:gd name="T2" fmla="*/ 436 w 872"/>
                  <a:gd name="T3" fmla="*/ 0 h 872"/>
                  <a:gd name="T4" fmla="*/ 128 w 872"/>
                  <a:gd name="T5" fmla="*/ 128 h 872"/>
                  <a:gd name="T6" fmla="*/ 0 w 872"/>
                  <a:gd name="T7" fmla="*/ 436 h 872"/>
                  <a:gd name="T8" fmla="*/ 128 w 872"/>
                  <a:gd name="T9" fmla="*/ 744 h 872"/>
                  <a:gd name="T10" fmla="*/ 436 w 872"/>
                  <a:gd name="T11" fmla="*/ 872 h 872"/>
                  <a:gd name="T12" fmla="*/ 744 w 872"/>
                  <a:gd name="T13" fmla="*/ 744 h 872"/>
                  <a:gd name="T14" fmla="*/ 872 w 872"/>
                  <a:gd name="T15" fmla="*/ 436 h 872"/>
                  <a:gd name="T16" fmla="*/ 744 w 872"/>
                  <a:gd name="T17" fmla="*/ 128 h 872"/>
                  <a:gd name="T18" fmla="*/ 472 w 872"/>
                  <a:gd name="T19" fmla="*/ 112 h 872"/>
                  <a:gd name="T20" fmla="*/ 576 w 872"/>
                  <a:gd name="T21" fmla="*/ 216 h 872"/>
                  <a:gd name="T22" fmla="*/ 472 w 872"/>
                  <a:gd name="T23" fmla="*/ 320 h 872"/>
                  <a:gd name="T24" fmla="*/ 368 w 872"/>
                  <a:gd name="T25" fmla="*/ 216 h 872"/>
                  <a:gd name="T26" fmla="*/ 472 w 872"/>
                  <a:gd name="T27" fmla="*/ 112 h 872"/>
                  <a:gd name="T28" fmla="*/ 195 w 872"/>
                  <a:gd name="T29" fmla="*/ 216 h 872"/>
                  <a:gd name="T30" fmla="*/ 276 w 872"/>
                  <a:gd name="T31" fmla="*/ 297 h 872"/>
                  <a:gd name="T32" fmla="*/ 195 w 872"/>
                  <a:gd name="T33" fmla="*/ 377 h 872"/>
                  <a:gd name="T34" fmla="*/ 114 w 872"/>
                  <a:gd name="T35" fmla="*/ 297 h 872"/>
                  <a:gd name="T36" fmla="*/ 195 w 872"/>
                  <a:gd name="T37" fmla="*/ 216 h 872"/>
                  <a:gd name="T38" fmla="*/ 215 w 872"/>
                  <a:gd name="T39" fmla="*/ 679 h 872"/>
                  <a:gd name="T40" fmla="*/ 119 w 872"/>
                  <a:gd name="T41" fmla="*/ 583 h 872"/>
                  <a:gd name="T42" fmla="*/ 215 w 872"/>
                  <a:gd name="T43" fmla="*/ 487 h 872"/>
                  <a:gd name="T44" fmla="*/ 311 w 872"/>
                  <a:gd name="T45" fmla="*/ 583 h 872"/>
                  <a:gd name="T46" fmla="*/ 215 w 872"/>
                  <a:gd name="T47" fmla="*/ 679 h 872"/>
                  <a:gd name="T48" fmla="*/ 403 w 872"/>
                  <a:gd name="T49" fmla="*/ 539 h 872"/>
                  <a:gd name="T50" fmla="*/ 322 w 872"/>
                  <a:gd name="T51" fmla="*/ 458 h 872"/>
                  <a:gd name="T52" fmla="*/ 403 w 872"/>
                  <a:gd name="T53" fmla="*/ 377 h 872"/>
                  <a:gd name="T54" fmla="*/ 484 w 872"/>
                  <a:gd name="T55" fmla="*/ 458 h 872"/>
                  <a:gd name="T56" fmla="*/ 403 w 872"/>
                  <a:gd name="T57" fmla="*/ 539 h 872"/>
                  <a:gd name="T58" fmla="*/ 545 w 872"/>
                  <a:gd name="T59" fmla="*/ 760 h 872"/>
                  <a:gd name="T60" fmla="*/ 464 w 872"/>
                  <a:gd name="T61" fmla="*/ 679 h 872"/>
                  <a:gd name="T62" fmla="*/ 545 w 872"/>
                  <a:gd name="T63" fmla="*/ 599 h 872"/>
                  <a:gd name="T64" fmla="*/ 625 w 872"/>
                  <a:gd name="T65" fmla="*/ 679 h 872"/>
                  <a:gd name="T66" fmla="*/ 545 w 872"/>
                  <a:gd name="T67" fmla="*/ 760 h 872"/>
                  <a:gd name="T68" fmla="*/ 662 w 872"/>
                  <a:gd name="T69" fmla="*/ 540 h 872"/>
                  <a:gd name="T70" fmla="*/ 566 w 872"/>
                  <a:gd name="T71" fmla="*/ 444 h 872"/>
                  <a:gd name="T72" fmla="*/ 662 w 872"/>
                  <a:gd name="T73" fmla="*/ 348 h 872"/>
                  <a:gd name="T74" fmla="*/ 758 w 872"/>
                  <a:gd name="T75" fmla="*/ 444 h 872"/>
                  <a:gd name="T76" fmla="*/ 662 w 872"/>
                  <a:gd name="T77" fmla="*/ 540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2" h="872">
                    <a:moveTo>
                      <a:pt x="744" y="128"/>
                    </a:moveTo>
                    <a:cubicBezTo>
                      <a:pt x="662" y="45"/>
                      <a:pt x="553" y="0"/>
                      <a:pt x="436" y="0"/>
                    </a:cubicBezTo>
                    <a:cubicBezTo>
                      <a:pt x="319" y="0"/>
                      <a:pt x="210" y="45"/>
                      <a:pt x="128" y="128"/>
                    </a:cubicBezTo>
                    <a:cubicBezTo>
                      <a:pt x="45" y="210"/>
                      <a:pt x="0" y="319"/>
                      <a:pt x="0" y="436"/>
                    </a:cubicBezTo>
                    <a:cubicBezTo>
                      <a:pt x="0" y="553"/>
                      <a:pt x="45" y="662"/>
                      <a:pt x="128" y="744"/>
                    </a:cubicBezTo>
                    <a:cubicBezTo>
                      <a:pt x="210" y="827"/>
                      <a:pt x="319" y="872"/>
                      <a:pt x="436" y="872"/>
                    </a:cubicBezTo>
                    <a:cubicBezTo>
                      <a:pt x="553" y="872"/>
                      <a:pt x="662" y="827"/>
                      <a:pt x="744" y="744"/>
                    </a:cubicBezTo>
                    <a:cubicBezTo>
                      <a:pt x="827" y="662"/>
                      <a:pt x="872" y="553"/>
                      <a:pt x="872" y="436"/>
                    </a:cubicBezTo>
                    <a:cubicBezTo>
                      <a:pt x="872" y="319"/>
                      <a:pt x="827" y="210"/>
                      <a:pt x="744" y="128"/>
                    </a:cubicBezTo>
                    <a:close/>
                    <a:moveTo>
                      <a:pt x="472" y="112"/>
                    </a:moveTo>
                    <a:cubicBezTo>
                      <a:pt x="529" y="112"/>
                      <a:pt x="576" y="158"/>
                      <a:pt x="576" y="216"/>
                    </a:cubicBezTo>
                    <a:cubicBezTo>
                      <a:pt x="576" y="273"/>
                      <a:pt x="529" y="320"/>
                      <a:pt x="472" y="320"/>
                    </a:cubicBezTo>
                    <a:cubicBezTo>
                      <a:pt x="414" y="320"/>
                      <a:pt x="368" y="273"/>
                      <a:pt x="368" y="216"/>
                    </a:cubicBezTo>
                    <a:cubicBezTo>
                      <a:pt x="368" y="158"/>
                      <a:pt x="414" y="112"/>
                      <a:pt x="472" y="112"/>
                    </a:cubicBezTo>
                    <a:close/>
                    <a:moveTo>
                      <a:pt x="195" y="216"/>
                    </a:moveTo>
                    <a:cubicBezTo>
                      <a:pt x="240" y="216"/>
                      <a:pt x="276" y="252"/>
                      <a:pt x="276" y="297"/>
                    </a:cubicBezTo>
                    <a:cubicBezTo>
                      <a:pt x="276" y="341"/>
                      <a:pt x="240" y="377"/>
                      <a:pt x="195" y="377"/>
                    </a:cubicBezTo>
                    <a:cubicBezTo>
                      <a:pt x="151" y="377"/>
                      <a:pt x="114" y="341"/>
                      <a:pt x="114" y="297"/>
                    </a:cubicBezTo>
                    <a:cubicBezTo>
                      <a:pt x="114" y="252"/>
                      <a:pt x="151" y="216"/>
                      <a:pt x="195" y="216"/>
                    </a:cubicBezTo>
                    <a:close/>
                    <a:moveTo>
                      <a:pt x="215" y="679"/>
                    </a:moveTo>
                    <a:cubicBezTo>
                      <a:pt x="162" y="679"/>
                      <a:pt x="119" y="636"/>
                      <a:pt x="119" y="583"/>
                    </a:cubicBezTo>
                    <a:cubicBezTo>
                      <a:pt x="119" y="530"/>
                      <a:pt x="162" y="487"/>
                      <a:pt x="215" y="487"/>
                    </a:cubicBezTo>
                    <a:cubicBezTo>
                      <a:pt x="268" y="487"/>
                      <a:pt x="311" y="530"/>
                      <a:pt x="311" y="583"/>
                    </a:cubicBezTo>
                    <a:cubicBezTo>
                      <a:pt x="311" y="636"/>
                      <a:pt x="268" y="679"/>
                      <a:pt x="215" y="679"/>
                    </a:cubicBezTo>
                    <a:close/>
                    <a:moveTo>
                      <a:pt x="403" y="539"/>
                    </a:moveTo>
                    <a:cubicBezTo>
                      <a:pt x="359" y="539"/>
                      <a:pt x="322" y="503"/>
                      <a:pt x="322" y="458"/>
                    </a:cubicBezTo>
                    <a:cubicBezTo>
                      <a:pt x="322" y="414"/>
                      <a:pt x="359" y="377"/>
                      <a:pt x="403" y="377"/>
                    </a:cubicBezTo>
                    <a:cubicBezTo>
                      <a:pt x="448" y="377"/>
                      <a:pt x="484" y="414"/>
                      <a:pt x="484" y="458"/>
                    </a:cubicBezTo>
                    <a:cubicBezTo>
                      <a:pt x="484" y="503"/>
                      <a:pt x="448" y="539"/>
                      <a:pt x="403" y="539"/>
                    </a:cubicBezTo>
                    <a:close/>
                    <a:moveTo>
                      <a:pt x="545" y="760"/>
                    </a:moveTo>
                    <a:cubicBezTo>
                      <a:pt x="500" y="760"/>
                      <a:pt x="464" y="724"/>
                      <a:pt x="464" y="679"/>
                    </a:cubicBezTo>
                    <a:cubicBezTo>
                      <a:pt x="464" y="635"/>
                      <a:pt x="500" y="599"/>
                      <a:pt x="545" y="599"/>
                    </a:cubicBezTo>
                    <a:cubicBezTo>
                      <a:pt x="589" y="599"/>
                      <a:pt x="625" y="635"/>
                      <a:pt x="625" y="679"/>
                    </a:cubicBezTo>
                    <a:cubicBezTo>
                      <a:pt x="625" y="724"/>
                      <a:pt x="589" y="760"/>
                      <a:pt x="545" y="760"/>
                    </a:cubicBezTo>
                    <a:close/>
                    <a:moveTo>
                      <a:pt x="662" y="540"/>
                    </a:moveTo>
                    <a:cubicBezTo>
                      <a:pt x="609" y="540"/>
                      <a:pt x="566" y="497"/>
                      <a:pt x="566" y="444"/>
                    </a:cubicBezTo>
                    <a:cubicBezTo>
                      <a:pt x="566" y="391"/>
                      <a:pt x="609" y="348"/>
                      <a:pt x="662" y="348"/>
                    </a:cubicBezTo>
                    <a:cubicBezTo>
                      <a:pt x="715" y="348"/>
                      <a:pt x="758" y="391"/>
                      <a:pt x="758" y="444"/>
                    </a:cubicBezTo>
                    <a:cubicBezTo>
                      <a:pt x="758" y="497"/>
                      <a:pt x="715" y="540"/>
                      <a:pt x="662" y="540"/>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26" name="Group 25">
            <a:extLst>
              <a:ext uri="{FF2B5EF4-FFF2-40B4-BE49-F238E27FC236}">
                <a16:creationId xmlns:a16="http://schemas.microsoft.com/office/drawing/2014/main" id="{624C33A9-1495-40C0-B5B5-E300DDA147BF}"/>
              </a:ext>
            </a:extLst>
          </p:cNvPr>
          <p:cNvGrpSpPr>
            <a:grpSpLocks noChangeAspect="1"/>
          </p:cNvGrpSpPr>
          <p:nvPr/>
        </p:nvGrpSpPr>
        <p:grpSpPr>
          <a:xfrm>
            <a:off x="4265334" y="1321401"/>
            <a:ext cx="1070522" cy="1069489"/>
            <a:chOff x="6464300" y="2606675"/>
            <a:chExt cx="1646238" cy="1644650"/>
          </a:xfrm>
        </p:grpSpPr>
        <p:sp>
          <p:nvSpPr>
            <p:cNvPr id="27" name="AutoShape 15">
              <a:extLst>
                <a:ext uri="{FF2B5EF4-FFF2-40B4-BE49-F238E27FC236}">
                  <a16:creationId xmlns:a16="http://schemas.microsoft.com/office/drawing/2014/main" id="{43B0BD17-56BE-42A4-9793-0F3D4BEA90CA}"/>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8" name="Group 27">
              <a:extLst>
                <a:ext uri="{FF2B5EF4-FFF2-40B4-BE49-F238E27FC236}">
                  <a16:creationId xmlns:a16="http://schemas.microsoft.com/office/drawing/2014/main" id="{87210FA7-45A3-4183-8D1B-16F5E2B4AB4A}"/>
                </a:ext>
              </a:extLst>
            </p:cNvPr>
            <p:cNvGrpSpPr/>
            <p:nvPr/>
          </p:nvGrpSpPr>
          <p:grpSpPr>
            <a:xfrm>
              <a:off x="6635750" y="2963862"/>
              <a:ext cx="1367015" cy="1238250"/>
              <a:chOff x="6635750" y="2963862"/>
              <a:chExt cx="1367015" cy="1238250"/>
            </a:xfrm>
          </p:grpSpPr>
          <p:sp>
            <p:nvSpPr>
              <p:cNvPr id="29" name="Freeform 10">
                <a:extLst>
                  <a:ext uri="{FF2B5EF4-FFF2-40B4-BE49-F238E27FC236}">
                    <a16:creationId xmlns:a16="http://schemas.microsoft.com/office/drawing/2014/main" id="{1F0EC4BB-B459-4B8B-9731-16BCDF016793}"/>
                  </a:ext>
                </a:extLst>
              </p:cNvPr>
              <p:cNvSpPr>
                <a:spLocks/>
              </p:cNvSpPr>
              <p:nvPr/>
            </p:nvSpPr>
            <p:spPr bwMode="auto">
              <a:xfrm>
                <a:off x="6635750" y="2963862"/>
                <a:ext cx="1367015" cy="1238250"/>
              </a:xfrm>
              <a:custGeom>
                <a:avLst/>
                <a:gdLst>
                  <a:gd name="connsiteX0" fmla="*/ 1124567 w 1367015"/>
                  <a:gd name="connsiteY0" fmla="*/ 922337 h 1238250"/>
                  <a:gd name="connsiteX1" fmla="*/ 1113855 w 1367015"/>
                  <a:gd name="connsiteY1" fmla="*/ 931647 h 1238250"/>
                  <a:gd name="connsiteX2" fmla="*/ 1058863 w 1367015"/>
                  <a:gd name="connsiteY2" fmla="*/ 985360 h 1238250"/>
                  <a:gd name="connsiteX3" fmla="*/ 1269544 w 1367015"/>
                  <a:gd name="connsiteY3" fmla="*/ 1205939 h 1238250"/>
                  <a:gd name="connsiteX4" fmla="*/ 1282399 w 1367015"/>
                  <a:gd name="connsiteY4" fmla="*/ 1205939 h 1238250"/>
                  <a:gd name="connsiteX5" fmla="*/ 1313109 w 1367015"/>
                  <a:gd name="connsiteY5" fmla="*/ 1185886 h 1238250"/>
                  <a:gd name="connsiteX6" fmla="*/ 1333820 w 1367015"/>
                  <a:gd name="connsiteY6" fmla="*/ 1155807 h 1238250"/>
                  <a:gd name="connsiteX7" fmla="*/ 1335248 w 1367015"/>
                  <a:gd name="connsiteY7" fmla="*/ 1142916 h 1238250"/>
                  <a:gd name="connsiteX8" fmla="*/ 1133851 w 1367015"/>
                  <a:gd name="connsiteY8" fmla="*/ 931647 h 1238250"/>
                  <a:gd name="connsiteX9" fmla="*/ 1124567 w 1367015"/>
                  <a:gd name="connsiteY9" fmla="*/ 922337 h 1238250"/>
                  <a:gd name="connsiteX10" fmla="*/ 925229 w 1367015"/>
                  <a:gd name="connsiteY10" fmla="*/ 906462 h 1238250"/>
                  <a:gd name="connsiteX11" fmla="*/ 949325 w 1367015"/>
                  <a:gd name="connsiteY11" fmla="*/ 931862 h 1238250"/>
                  <a:gd name="connsiteX12" fmla="*/ 869950 w 1367015"/>
                  <a:gd name="connsiteY12" fmla="*/ 931862 h 1238250"/>
                  <a:gd name="connsiteX13" fmla="*/ 925229 w 1367015"/>
                  <a:gd name="connsiteY13" fmla="*/ 906462 h 1238250"/>
                  <a:gd name="connsiteX14" fmla="*/ 1124927 w 1367015"/>
                  <a:gd name="connsiteY14" fmla="*/ 884237 h 1238250"/>
                  <a:gd name="connsiteX15" fmla="*/ 1135645 w 1367015"/>
                  <a:gd name="connsiteY15" fmla="*/ 889243 h 1238250"/>
                  <a:gd name="connsiteX16" fmla="*/ 1146363 w 1367015"/>
                  <a:gd name="connsiteY16" fmla="*/ 900686 h 1238250"/>
                  <a:gd name="connsiteX17" fmla="*/ 1176374 w 1367015"/>
                  <a:gd name="connsiteY17" fmla="*/ 932154 h 1238250"/>
                  <a:gd name="connsiteX18" fmla="*/ 1357152 w 1367015"/>
                  <a:gd name="connsiteY18" fmla="*/ 1121676 h 1238250"/>
                  <a:gd name="connsiteX19" fmla="*/ 1363582 w 1367015"/>
                  <a:gd name="connsiteY19" fmla="*/ 1166017 h 1238250"/>
                  <a:gd name="connsiteX20" fmla="*/ 1335001 w 1367015"/>
                  <a:gd name="connsiteY20" fmla="*/ 1208928 h 1238250"/>
                  <a:gd name="connsiteX21" fmla="*/ 1290700 w 1367015"/>
                  <a:gd name="connsiteY21" fmla="*/ 1236105 h 1238250"/>
                  <a:gd name="connsiteX22" fmla="*/ 1273551 w 1367015"/>
                  <a:gd name="connsiteY22" fmla="*/ 1238250 h 1238250"/>
                  <a:gd name="connsiteX23" fmla="*/ 1246398 w 1367015"/>
                  <a:gd name="connsiteY23" fmla="*/ 1227522 h 1238250"/>
                  <a:gd name="connsiteX24" fmla="*/ 1024892 w 1367015"/>
                  <a:gd name="connsiteY24" fmla="*/ 996520 h 1238250"/>
                  <a:gd name="connsiteX25" fmla="*/ 1025606 w 1367015"/>
                  <a:gd name="connsiteY25" fmla="*/ 974350 h 1238250"/>
                  <a:gd name="connsiteX26" fmla="*/ 1068478 w 1367015"/>
                  <a:gd name="connsiteY26" fmla="*/ 932154 h 1238250"/>
                  <a:gd name="connsiteX27" fmla="*/ 1076338 w 1367015"/>
                  <a:gd name="connsiteY27" fmla="*/ 925002 h 1238250"/>
                  <a:gd name="connsiteX28" fmla="*/ 1100633 w 1367015"/>
                  <a:gd name="connsiteY28" fmla="*/ 900686 h 1238250"/>
                  <a:gd name="connsiteX29" fmla="*/ 1104205 w 1367015"/>
                  <a:gd name="connsiteY29" fmla="*/ 897826 h 1238250"/>
                  <a:gd name="connsiteX30" fmla="*/ 1113494 w 1367015"/>
                  <a:gd name="connsiteY30" fmla="*/ 889243 h 1238250"/>
                  <a:gd name="connsiteX31" fmla="*/ 1124927 w 1367015"/>
                  <a:gd name="connsiteY31" fmla="*/ 884237 h 1238250"/>
                  <a:gd name="connsiteX32" fmla="*/ 346518 w 1367015"/>
                  <a:gd name="connsiteY32" fmla="*/ 565150 h 1238250"/>
                  <a:gd name="connsiteX33" fmla="*/ 306388 w 1367015"/>
                  <a:gd name="connsiteY33" fmla="*/ 606784 h 1238250"/>
                  <a:gd name="connsiteX34" fmla="*/ 306388 w 1367015"/>
                  <a:gd name="connsiteY34" fmla="*/ 608938 h 1238250"/>
                  <a:gd name="connsiteX35" fmla="*/ 319765 w 1367015"/>
                  <a:gd name="connsiteY35" fmla="*/ 636933 h 1238250"/>
                  <a:gd name="connsiteX36" fmla="*/ 346518 w 1367015"/>
                  <a:gd name="connsiteY36" fmla="*/ 647700 h 1238250"/>
                  <a:gd name="connsiteX37" fmla="*/ 387351 w 1367015"/>
                  <a:gd name="connsiteY37" fmla="*/ 606784 h 1238250"/>
                  <a:gd name="connsiteX38" fmla="*/ 383127 w 1367015"/>
                  <a:gd name="connsiteY38" fmla="*/ 588838 h 1238250"/>
                  <a:gd name="connsiteX39" fmla="*/ 360598 w 1367015"/>
                  <a:gd name="connsiteY39" fmla="*/ 568021 h 1238250"/>
                  <a:gd name="connsiteX40" fmla="*/ 346518 w 1367015"/>
                  <a:gd name="connsiteY40" fmla="*/ 565150 h 1238250"/>
                  <a:gd name="connsiteX41" fmla="*/ 760846 w 1367015"/>
                  <a:gd name="connsiteY41" fmla="*/ 492125 h 1238250"/>
                  <a:gd name="connsiteX42" fmla="*/ 735591 w 1367015"/>
                  <a:gd name="connsiteY42" fmla="*/ 499181 h 1238250"/>
                  <a:gd name="connsiteX43" fmla="*/ 710335 w 1367015"/>
                  <a:gd name="connsiteY43" fmla="*/ 535164 h 1238250"/>
                  <a:gd name="connsiteX44" fmla="*/ 709613 w 1367015"/>
                  <a:gd name="connsiteY44" fmla="*/ 542925 h 1238250"/>
                  <a:gd name="connsiteX45" fmla="*/ 760846 w 1367015"/>
                  <a:gd name="connsiteY45" fmla="*/ 593725 h 1238250"/>
                  <a:gd name="connsiteX46" fmla="*/ 767341 w 1367015"/>
                  <a:gd name="connsiteY46" fmla="*/ 593725 h 1238250"/>
                  <a:gd name="connsiteX47" fmla="*/ 804864 w 1367015"/>
                  <a:gd name="connsiteY47" fmla="*/ 570442 h 1238250"/>
                  <a:gd name="connsiteX48" fmla="*/ 812801 w 1367015"/>
                  <a:gd name="connsiteY48" fmla="*/ 542925 h 1238250"/>
                  <a:gd name="connsiteX49" fmla="*/ 812801 w 1367015"/>
                  <a:gd name="connsiteY49" fmla="*/ 539397 h 1238250"/>
                  <a:gd name="connsiteX50" fmla="*/ 768062 w 1367015"/>
                  <a:gd name="connsiteY50" fmla="*/ 492831 h 1238250"/>
                  <a:gd name="connsiteX51" fmla="*/ 760846 w 1367015"/>
                  <a:gd name="connsiteY51" fmla="*/ 492125 h 1238250"/>
                  <a:gd name="connsiteX52" fmla="*/ 891455 w 1367015"/>
                  <a:gd name="connsiteY52" fmla="*/ 415925 h 1238250"/>
                  <a:gd name="connsiteX53" fmla="*/ 915035 w 1367015"/>
                  <a:gd name="connsiteY53" fmla="*/ 434485 h 1238250"/>
                  <a:gd name="connsiteX54" fmla="*/ 920751 w 1367015"/>
                  <a:gd name="connsiteY54" fmla="*/ 439482 h 1238250"/>
                  <a:gd name="connsiteX55" fmla="*/ 877164 w 1367015"/>
                  <a:gd name="connsiteY55" fmla="*/ 474460 h 1238250"/>
                  <a:gd name="connsiteX56" fmla="*/ 850012 w 1367015"/>
                  <a:gd name="connsiteY56" fmla="*/ 496589 h 1238250"/>
                  <a:gd name="connsiteX57" fmla="*/ 838579 w 1367015"/>
                  <a:gd name="connsiteY57" fmla="*/ 505155 h 1238250"/>
                  <a:gd name="connsiteX58" fmla="*/ 844296 w 1367015"/>
                  <a:gd name="connsiteY58" fmla="*/ 519432 h 1238250"/>
                  <a:gd name="connsiteX59" fmla="*/ 847154 w 1367015"/>
                  <a:gd name="connsiteY59" fmla="*/ 542989 h 1238250"/>
                  <a:gd name="connsiteX60" fmla="*/ 845725 w 1367015"/>
                  <a:gd name="connsiteY60" fmla="*/ 561549 h 1238250"/>
                  <a:gd name="connsiteX61" fmla="*/ 824289 w 1367015"/>
                  <a:gd name="connsiteY61" fmla="*/ 601524 h 1238250"/>
                  <a:gd name="connsiteX62" fmla="*/ 761409 w 1367015"/>
                  <a:gd name="connsiteY62" fmla="*/ 628650 h 1238250"/>
                  <a:gd name="connsiteX63" fmla="*/ 676379 w 1367015"/>
                  <a:gd name="connsiteY63" fmla="*/ 542989 h 1238250"/>
                  <a:gd name="connsiteX64" fmla="*/ 678523 w 1367015"/>
                  <a:gd name="connsiteY64" fmla="*/ 523715 h 1238250"/>
                  <a:gd name="connsiteX65" fmla="*/ 582775 w 1367015"/>
                  <a:gd name="connsiteY65" fmla="*/ 477316 h 1238250"/>
                  <a:gd name="connsiteX66" fmla="*/ 569913 w 1367015"/>
                  <a:gd name="connsiteY66" fmla="*/ 470891 h 1238250"/>
                  <a:gd name="connsiteX67" fmla="*/ 594208 w 1367015"/>
                  <a:gd name="connsiteY67" fmla="*/ 441623 h 1238250"/>
                  <a:gd name="connsiteX68" fmla="*/ 694957 w 1367015"/>
                  <a:gd name="connsiteY68" fmla="*/ 490165 h 1238250"/>
                  <a:gd name="connsiteX69" fmla="*/ 715679 w 1367015"/>
                  <a:gd name="connsiteY69" fmla="*/ 470891 h 1238250"/>
                  <a:gd name="connsiteX70" fmla="*/ 761409 w 1367015"/>
                  <a:gd name="connsiteY70" fmla="*/ 457328 h 1238250"/>
                  <a:gd name="connsiteX71" fmla="*/ 789991 w 1367015"/>
                  <a:gd name="connsiteY71" fmla="*/ 462325 h 1238250"/>
                  <a:gd name="connsiteX72" fmla="*/ 815714 w 1367015"/>
                  <a:gd name="connsiteY72" fmla="*/ 476602 h 1238250"/>
                  <a:gd name="connsiteX73" fmla="*/ 831434 w 1367015"/>
                  <a:gd name="connsiteY73" fmla="*/ 464466 h 1238250"/>
                  <a:gd name="connsiteX74" fmla="*/ 891455 w 1367015"/>
                  <a:gd name="connsiteY74" fmla="*/ 415925 h 1238250"/>
                  <a:gd name="connsiteX75" fmla="*/ 772661 w 1367015"/>
                  <a:gd name="connsiteY75" fmla="*/ 346605 h 1238250"/>
                  <a:gd name="connsiteX76" fmla="*/ 628158 w 1367015"/>
                  <a:gd name="connsiteY76" fmla="*/ 379415 h 1238250"/>
                  <a:gd name="connsiteX77" fmla="*/ 571784 w 1367015"/>
                  <a:gd name="connsiteY77" fmla="*/ 420783 h 1238250"/>
                  <a:gd name="connsiteX78" fmla="*/ 546809 w 1367015"/>
                  <a:gd name="connsiteY78" fmla="*/ 449314 h 1238250"/>
                  <a:gd name="connsiteX79" fmla="*/ 524687 w 1367015"/>
                  <a:gd name="connsiteY79" fmla="*/ 482123 h 1238250"/>
                  <a:gd name="connsiteX80" fmla="*/ 564648 w 1367015"/>
                  <a:gd name="connsiteY80" fmla="*/ 800235 h 1238250"/>
                  <a:gd name="connsiteX81" fmla="*/ 678110 w 1367015"/>
                  <a:gd name="connsiteY81" fmla="*/ 869420 h 1238250"/>
                  <a:gd name="connsiteX82" fmla="*/ 837955 w 1367015"/>
                  <a:gd name="connsiteY82" fmla="*/ 869420 h 1238250"/>
                  <a:gd name="connsiteX83" fmla="*/ 921445 w 1367015"/>
                  <a:gd name="connsiteY83" fmla="*/ 826625 h 1238250"/>
                  <a:gd name="connsiteX84" fmla="*/ 944280 w 1367015"/>
                  <a:gd name="connsiteY84" fmla="*/ 807367 h 1238250"/>
                  <a:gd name="connsiteX85" fmla="*/ 967115 w 1367015"/>
                  <a:gd name="connsiteY85" fmla="*/ 783117 h 1238250"/>
                  <a:gd name="connsiteX86" fmla="*/ 959979 w 1367015"/>
                  <a:gd name="connsiteY86" fmla="*/ 437902 h 1238250"/>
                  <a:gd name="connsiteX87" fmla="*/ 951416 w 1367015"/>
                  <a:gd name="connsiteY87" fmla="*/ 427916 h 1238250"/>
                  <a:gd name="connsiteX88" fmla="*/ 937858 w 1367015"/>
                  <a:gd name="connsiteY88" fmla="*/ 415791 h 1238250"/>
                  <a:gd name="connsiteX89" fmla="*/ 912882 w 1367015"/>
                  <a:gd name="connsiteY89" fmla="*/ 395106 h 1238250"/>
                  <a:gd name="connsiteX90" fmla="*/ 772661 w 1367015"/>
                  <a:gd name="connsiteY90" fmla="*/ 346605 h 1238250"/>
                  <a:gd name="connsiteX91" fmla="*/ 785477 w 1367015"/>
                  <a:gd name="connsiteY91" fmla="*/ 308032 h 1238250"/>
                  <a:gd name="connsiteX92" fmla="*/ 945296 w 1367015"/>
                  <a:gd name="connsiteY92" fmla="*/ 370115 h 1238250"/>
                  <a:gd name="connsiteX93" fmla="*/ 969609 w 1367015"/>
                  <a:gd name="connsiteY93" fmla="*/ 390809 h 1238250"/>
                  <a:gd name="connsiteX94" fmla="*/ 980335 w 1367015"/>
                  <a:gd name="connsiteY94" fmla="*/ 400799 h 1238250"/>
                  <a:gd name="connsiteX95" fmla="*/ 991061 w 1367015"/>
                  <a:gd name="connsiteY95" fmla="*/ 413644 h 1238250"/>
                  <a:gd name="connsiteX96" fmla="*/ 1008223 w 1367015"/>
                  <a:gd name="connsiteY96" fmla="*/ 791852 h 1238250"/>
                  <a:gd name="connsiteX97" fmla="*/ 1080445 w 1367015"/>
                  <a:gd name="connsiteY97" fmla="*/ 866780 h 1238250"/>
                  <a:gd name="connsiteX98" fmla="*/ 1081875 w 1367015"/>
                  <a:gd name="connsiteY98" fmla="*/ 868921 h 1238250"/>
                  <a:gd name="connsiteX99" fmla="*/ 1081875 w 1367015"/>
                  <a:gd name="connsiteY99" fmla="*/ 876770 h 1238250"/>
                  <a:gd name="connsiteX100" fmla="*/ 1056848 w 1367015"/>
                  <a:gd name="connsiteY100" fmla="*/ 900319 h 1238250"/>
                  <a:gd name="connsiteX101" fmla="*/ 1055418 w 1367015"/>
                  <a:gd name="connsiteY101" fmla="*/ 901746 h 1238250"/>
                  <a:gd name="connsiteX102" fmla="*/ 1023954 w 1367015"/>
                  <a:gd name="connsiteY102" fmla="*/ 931717 h 1238250"/>
                  <a:gd name="connsiteX103" fmla="*/ 1014658 w 1367015"/>
                  <a:gd name="connsiteY103" fmla="*/ 940994 h 1238250"/>
                  <a:gd name="connsiteX104" fmla="*/ 1003217 w 1367015"/>
                  <a:gd name="connsiteY104" fmla="*/ 940994 h 1238250"/>
                  <a:gd name="connsiteX105" fmla="*/ 993921 w 1367015"/>
                  <a:gd name="connsiteY105" fmla="*/ 931717 h 1238250"/>
                  <a:gd name="connsiteX106" fmla="*/ 963888 w 1367015"/>
                  <a:gd name="connsiteY106" fmla="*/ 900319 h 1238250"/>
                  <a:gd name="connsiteX107" fmla="*/ 933140 w 1367015"/>
                  <a:gd name="connsiteY107" fmla="*/ 868921 h 1238250"/>
                  <a:gd name="connsiteX108" fmla="*/ 930995 w 1367015"/>
                  <a:gd name="connsiteY108" fmla="*/ 866780 h 1238250"/>
                  <a:gd name="connsiteX109" fmla="*/ 926704 w 1367015"/>
                  <a:gd name="connsiteY109" fmla="*/ 868921 h 1238250"/>
                  <a:gd name="connsiteX110" fmla="*/ 864493 w 1367015"/>
                  <a:gd name="connsiteY110" fmla="*/ 900319 h 1238250"/>
                  <a:gd name="connsiteX111" fmla="*/ 651400 w 1367015"/>
                  <a:gd name="connsiteY111" fmla="*/ 900319 h 1238250"/>
                  <a:gd name="connsiteX112" fmla="*/ 589189 w 1367015"/>
                  <a:gd name="connsiteY112" fmla="*/ 868921 h 1238250"/>
                  <a:gd name="connsiteX113" fmla="*/ 536988 w 1367015"/>
                  <a:gd name="connsiteY113" fmla="*/ 826105 h 1238250"/>
                  <a:gd name="connsiteX114" fmla="*/ 457615 w 1367015"/>
                  <a:gd name="connsiteY114" fmla="*/ 554937 h 1238250"/>
                  <a:gd name="connsiteX115" fmla="*/ 481213 w 1367015"/>
                  <a:gd name="connsiteY115" fmla="*/ 482863 h 1238250"/>
                  <a:gd name="connsiteX116" fmla="*/ 530553 w 1367015"/>
                  <a:gd name="connsiteY116" fmla="*/ 408649 h 1238250"/>
                  <a:gd name="connsiteX117" fmla="*/ 545569 w 1367015"/>
                  <a:gd name="connsiteY117" fmla="*/ 392236 h 1238250"/>
                  <a:gd name="connsiteX118" fmla="*/ 592049 w 1367015"/>
                  <a:gd name="connsiteY118" fmla="*/ 355843 h 1238250"/>
                  <a:gd name="connsiteX119" fmla="*/ 619222 w 1367015"/>
                  <a:gd name="connsiteY119" fmla="*/ 340143 h 1238250"/>
                  <a:gd name="connsiteX120" fmla="*/ 785477 w 1367015"/>
                  <a:gd name="connsiteY120" fmla="*/ 308032 h 1238250"/>
                  <a:gd name="connsiteX121" fmla="*/ 555676 w 1367015"/>
                  <a:gd name="connsiteY121" fmla="*/ 304800 h 1238250"/>
                  <a:gd name="connsiteX122" fmla="*/ 595313 w 1367015"/>
                  <a:gd name="connsiteY122" fmla="*/ 316982 h 1238250"/>
                  <a:gd name="connsiteX123" fmla="*/ 563462 w 1367015"/>
                  <a:gd name="connsiteY123" fmla="*/ 337046 h 1238250"/>
                  <a:gd name="connsiteX124" fmla="*/ 555676 w 1367015"/>
                  <a:gd name="connsiteY124" fmla="*/ 336330 h 1238250"/>
                  <a:gd name="connsiteX125" fmla="*/ 515331 w 1367015"/>
                  <a:gd name="connsiteY125" fmla="*/ 377175 h 1238250"/>
                  <a:gd name="connsiteX126" fmla="*/ 515331 w 1367015"/>
                  <a:gd name="connsiteY126" fmla="*/ 379325 h 1238250"/>
                  <a:gd name="connsiteX127" fmla="*/ 490558 w 1367015"/>
                  <a:gd name="connsiteY127" fmla="*/ 407988 h 1238250"/>
                  <a:gd name="connsiteX128" fmla="*/ 484188 w 1367015"/>
                  <a:gd name="connsiteY128" fmla="*/ 377175 h 1238250"/>
                  <a:gd name="connsiteX129" fmla="*/ 555676 w 1367015"/>
                  <a:gd name="connsiteY129" fmla="*/ 304800 h 1238250"/>
                  <a:gd name="connsiteX130" fmla="*/ 1089384 w 1367015"/>
                  <a:gd name="connsiteY130" fmla="*/ 233362 h 1238250"/>
                  <a:gd name="connsiteX131" fmla="*/ 1047750 w 1367015"/>
                  <a:gd name="connsiteY131" fmla="*/ 274996 h 1238250"/>
                  <a:gd name="connsiteX132" fmla="*/ 1049186 w 1367015"/>
                  <a:gd name="connsiteY132" fmla="*/ 286481 h 1238250"/>
                  <a:gd name="connsiteX133" fmla="*/ 1069285 w 1367015"/>
                  <a:gd name="connsiteY133" fmla="*/ 310887 h 1238250"/>
                  <a:gd name="connsiteX134" fmla="*/ 1089384 w 1367015"/>
                  <a:gd name="connsiteY134" fmla="*/ 315912 h 1238250"/>
                  <a:gd name="connsiteX135" fmla="*/ 1130300 w 1367015"/>
                  <a:gd name="connsiteY135" fmla="*/ 274996 h 1238250"/>
                  <a:gd name="connsiteX136" fmla="*/ 1128865 w 1367015"/>
                  <a:gd name="connsiteY136" fmla="*/ 264229 h 1238250"/>
                  <a:gd name="connsiteX137" fmla="*/ 1109483 w 1367015"/>
                  <a:gd name="connsiteY137" fmla="*/ 239105 h 1238250"/>
                  <a:gd name="connsiteX138" fmla="*/ 1089384 w 1367015"/>
                  <a:gd name="connsiteY138" fmla="*/ 233362 h 1238250"/>
                  <a:gd name="connsiteX139" fmla="*/ 15705 w 1367015"/>
                  <a:gd name="connsiteY139" fmla="*/ 0 h 1238250"/>
                  <a:gd name="connsiteX140" fmla="*/ 1289220 w 1367015"/>
                  <a:gd name="connsiteY140" fmla="*/ 0 h 1238250"/>
                  <a:gd name="connsiteX141" fmla="*/ 1304925 w 1367015"/>
                  <a:gd name="connsiteY141" fmla="*/ 15698 h 1238250"/>
                  <a:gd name="connsiteX142" fmla="*/ 1304925 w 1367015"/>
                  <a:gd name="connsiteY142" fmla="*/ 916166 h 1238250"/>
                  <a:gd name="connsiteX143" fmla="*/ 1289220 w 1367015"/>
                  <a:gd name="connsiteY143" fmla="*/ 931863 h 1238250"/>
                  <a:gd name="connsiteX144" fmla="*/ 1219977 w 1367015"/>
                  <a:gd name="connsiteY144" fmla="*/ 931863 h 1238250"/>
                  <a:gd name="connsiteX145" fmla="*/ 1189995 w 1367015"/>
                  <a:gd name="connsiteY145" fmla="*/ 900468 h 1238250"/>
                  <a:gd name="connsiteX146" fmla="*/ 1273516 w 1367015"/>
                  <a:gd name="connsiteY146" fmla="*/ 900468 h 1238250"/>
                  <a:gd name="connsiteX147" fmla="*/ 1273516 w 1367015"/>
                  <a:gd name="connsiteY147" fmla="*/ 151267 h 1238250"/>
                  <a:gd name="connsiteX148" fmla="*/ 1242106 w 1367015"/>
                  <a:gd name="connsiteY148" fmla="*/ 175527 h 1238250"/>
                  <a:gd name="connsiteX149" fmla="*/ 1154302 w 1367015"/>
                  <a:gd name="connsiteY149" fmla="*/ 243312 h 1238250"/>
                  <a:gd name="connsiteX150" fmla="*/ 1161441 w 1367015"/>
                  <a:gd name="connsiteY150" fmla="*/ 274707 h 1238250"/>
                  <a:gd name="connsiteX151" fmla="*/ 1089341 w 1367015"/>
                  <a:gd name="connsiteY151" fmla="*/ 346773 h 1238250"/>
                  <a:gd name="connsiteX152" fmla="*/ 1043655 w 1367015"/>
                  <a:gd name="connsiteY152" fmla="*/ 331076 h 1238250"/>
                  <a:gd name="connsiteX153" fmla="*/ 993685 w 1367015"/>
                  <a:gd name="connsiteY153" fmla="*/ 371033 h 1238250"/>
                  <a:gd name="connsiteX154" fmla="*/ 969414 w 1367015"/>
                  <a:gd name="connsiteY154" fmla="*/ 349627 h 1238250"/>
                  <a:gd name="connsiteX155" fmla="*/ 1024381 w 1367015"/>
                  <a:gd name="connsiteY155" fmla="*/ 306102 h 1238250"/>
                  <a:gd name="connsiteX156" fmla="*/ 1016528 w 1367015"/>
                  <a:gd name="connsiteY156" fmla="*/ 274707 h 1238250"/>
                  <a:gd name="connsiteX157" fmla="*/ 1089341 w 1367015"/>
                  <a:gd name="connsiteY157" fmla="*/ 201928 h 1238250"/>
                  <a:gd name="connsiteX158" fmla="*/ 1135028 w 1367015"/>
                  <a:gd name="connsiteY158" fmla="*/ 219052 h 1238250"/>
                  <a:gd name="connsiteX159" fmla="*/ 1242106 w 1367015"/>
                  <a:gd name="connsiteY159" fmla="*/ 136283 h 1238250"/>
                  <a:gd name="connsiteX160" fmla="*/ 1269946 w 1367015"/>
                  <a:gd name="connsiteY160" fmla="*/ 114878 h 1238250"/>
                  <a:gd name="connsiteX161" fmla="*/ 1273516 w 1367015"/>
                  <a:gd name="connsiteY161" fmla="*/ 112737 h 1238250"/>
                  <a:gd name="connsiteX162" fmla="*/ 1273516 w 1367015"/>
                  <a:gd name="connsiteY162" fmla="*/ 31395 h 1238250"/>
                  <a:gd name="connsiteX163" fmla="*/ 31410 w 1367015"/>
                  <a:gd name="connsiteY163" fmla="*/ 31395 h 1238250"/>
                  <a:gd name="connsiteX164" fmla="*/ 31410 w 1367015"/>
                  <a:gd name="connsiteY164" fmla="*/ 741352 h 1238250"/>
                  <a:gd name="connsiteX165" fmla="*/ 62819 w 1367015"/>
                  <a:gd name="connsiteY165" fmla="*/ 726368 h 1238250"/>
                  <a:gd name="connsiteX166" fmla="*/ 276976 w 1367015"/>
                  <a:gd name="connsiteY166" fmla="*/ 623621 h 1238250"/>
                  <a:gd name="connsiteX167" fmla="*/ 274834 w 1367015"/>
                  <a:gd name="connsiteY167" fmla="*/ 607210 h 1238250"/>
                  <a:gd name="connsiteX168" fmla="*/ 346933 w 1367015"/>
                  <a:gd name="connsiteY168" fmla="*/ 534430 h 1238250"/>
                  <a:gd name="connsiteX169" fmla="*/ 383340 w 1367015"/>
                  <a:gd name="connsiteY169" fmla="*/ 543706 h 1238250"/>
                  <a:gd name="connsiteX170" fmla="*/ 454725 w 1367015"/>
                  <a:gd name="connsiteY170" fmla="*/ 465218 h 1238250"/>
                  <a:gd name="connsiteX171" fmla="*/ 429026 w 1367015"/>
                  <a:gd name="connsiteY171" fmla="*/ 540138 h 1238250"/>
                  <a:gd name="connsiteX172" fmla="*/ 406183 w 1367015"/>
                  <a:gd name="connsiteY172" fmla="*/ 565112 h 1238250"/>
                  <a:gd name="connsiteX173" fmla="*/ 419746 w 1367015"/>
                  <a:gd name="connsiteY173" fmla="*/ 607210 h 1238250"/>
                  <a:gd name="connsiteX174" fmla="*/ 346933 w 1367015"/>
                  <a:gd name="connsiteY174" fmla="*/ 679275 h 1238250"/>
                  <a:gd name="connsiteX175" fmla="*/ 290539 w 1367015"/>
                  <a:gd name="connsiteY175" fmla="*/ 651448 h 1238250"/>
                  <a:gd name="connsiteX176" fmla="*/ 62819 w 1367015"/>
                  <a:gd name="connsiteY176" fmla="*/ 761331 h 1238250"/>
                  <a:gd name="connsiteX177" fmla="*/ 31410 w 1367015"/>
                  <a:gd name="connsiteY177" fmla="*/ 776315 h 1238250"/>
                  <a:gd name="connsiteX178" fmla="*/ 31410 w 1367015"/>
                  <a:gd name="connsiteY178" fmla="*/ 900468 h 1238250"/>
                  <a:gd name="connsiteX179" fmla="*/ 579650 w 1367015"/>
                  <a:gd name="connsiteY179" fmla="*/ 900468 h 1238250"/>
                  <a:gd name="connsiteX180" fmla="*/ 645324 w 1367015"/>
                  <a:gd name="connsiteY180" fmla="*/ 931863 h 1238250"/>
                  <a:gd name="connsiteX181" fmla="*/ 15705 w 1367015"/>
                  <a:gd name="connsiteY181" fmla="*/ 931863 h 1238250"/>
                  <a:gd name="connsiteX182" fmla="*/ 0 w 1367015"/>
                  <a:gd name="connsiteY182" fmla="*/ 916166 h 1238250"/>
                  <a:gd name="connsiteX183" fmla="*/ 0 w 1367015"/>
                  <a:gd name="connsiteY183" fmla="*/ 15698 h 1238250"/>
                  <a:gd name="connsiteX184" fmla="*/ 15705 w 1367015"/>
                  <a:gd name="connsiteY184" fmla="*/ 0 h 1238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367015" h="1238250">
                    <a:moveTo>
                      <a:pt x="1124567" y="922337"/>
                    </a:moveTo>
                    <a:cubicBezTo>
                      <a:pt x="1124567" y="922337"/>
                      <a:pt x="1124567" y="922337"/>
                      <a:pt x="1113855" y="931647"/>
                    </a:cubicBezTo>
                    <a:cubicBezTo>
                      <a:pt x="1113855" y="931647"/>
                      <a:pt x="1113855" y="931647"/>
                      <a:pt x="1058863" y="985360"/>
                    </a:cubicBezTo>
                    <a:cubicBezTo>
                      <a:pt x="1269544" y="1205939"/>
                      <a:pt x="1269544" y="1205939"/>
                      <a:pt x="1269544" y="1205939"/>
                    </a:cubicBezTo>
                    <a:cubicBezTo>
                      <a:pt x="1270258" y="1206655"/>
                      <a:pt x="1274543" y="1208087"/>
                      <a:pt x="1282399" y="1205939"/>
                    </a:cubicBezTo>
                    <a:cubicBezTo>
                      <a:pt x="1292398" y="1203074"/>
                      <a:pt x="1303110" y="1195912"/>
                      <a:pt x="1313109" y="1185886"/>
                    </a:cubicBezTo>
                    <a:cubicBezTo>
                      <a:pt x="1323107" y="1176576"/>
                      <a:pt x="1330963" y="1165833"/>
                      <a:pt x="1333820" y="1155807"/>
                    </a:cubicBezTo>
                    <a:cubicBezTo>
                      <a:pt x="1336676" y="1147929"/>
                      <a:pt x="1335962" y="1143632"/>
                      <a:pt x="1335248" y="1142916"/>
                    </a:cubicBezTo>
                    <a:cubicBezTo>
                      <a:pt x="1198841" y="1000399"/>
                      <a:pt x="1150277" y="949551"/>
                      <a:pt x="1133851" y="931647"/>
                    </a:cubicBezTo>
                    <a:cubicBezTo>
                      <a:pt x="1124567" y="922337"/>
                      <a:pt x="1124567" y="922337"/>
                      <a:pt x="1124567" y="922337"/>
                    </a:cubicBezTo>
                    <a:close/>
                    <a:moveTo>
                      <a:pt x="925229" y="906462"/>
                    </a:moveTo>
                    <a:cubicBezTo>
                      <a:pt x="925229" y="906462"/>
                      <a:pt x="925229" y="906462"/>
                      <a:pt x="949325" y="931862"/>
                    </a:cubicBezTo>
                    <a:cubicBezTo>
                      <a:pt x="949325" y="931862"/>
                      <a:pt x="949325" y="931862"/>
                      <a:pt x="869950" y="931862"/>
                    </a:cubicBezTo>
                    <a:cubicBezTo>
                      <a:pt x="889085" y="925331"/>
                      <a:pt x="907512" y="916622"/>
                      <a:pt x="925229" y="906462"/>
                    </a:cubicBezTo>
                    <a:close/>
                    <a:moveTo>
                      <a:pt x="1124927" y="884237"/>
                    </a:moveTo>
                    <a:cubicBezTo>
                      <a:pt x="1129214" y="884952"/>
                      <a:pt x="1132787" y="886383"/>
                      <a:pt x="1135645" y="889243"/>
                    </a:cubicBezTo>
                    <a:cubicBezTo>
                      <a:pt x="1139218" y="893534"/>
                      <a:pt x="1142790" y="897110"/>
                      <a:pt x="1146363" y="900686"/>
                    </a:cubicBezTo>
                    <a:cubicBezTo>
                      <a:pt x="1157081" y="912129"/>
                      <a:pt x="1167085" y="922857"/>
                      <a:pt x="1176374" y="932154"/>
                    </a:cubicBezTo>
                    <a:cubicBezTo>
                      <a:pt x="1357152" y="1121676"/>
                      <a:pt x="1357152" y="1121676"/>
                      <a:pt x="1357152" y="1121676"/>
                    </a:cubicBezTo>
                    <a:cubicBezTo>
                      <a:pt x="1367155" y="1131689"/>
                      <a:pt x="1370013" y="1148138"/>
                      <a:pt x="1363582" y="1166017"/>
                    </a:cubicBezTo>
                    <a:cubicBezTo>
                      <a:pt x="1358581" y="1181036"/>
                      <a:pt x="1348577" y="1196055"/>
                      <a:pt x="1335001" y="1208928"/>
                    </a:cubicBezTo>
                    <a:cubicBezTo>
                      <a:pt x="1321425" y="1221801"/>
                      <a:pt x="1305705" y="1231814"/>
                      <a:pt x="1290700" y="1236105"/>
                    </a:cubicBezTo>
                    <a:cubicBezTo>
                      <a:pt x="1284983" y="1237535"/>
                      <a:pt x="1279267" y="1238250"/>
                      <a:pt x="1273551" y="1238250"/>
                    </a:cubicBezTo>
                    <a:cubicBezTo>
                      <a:pt x="1262833" y="1238250"/>
                      <a:pt x="1252829" y="1234674"/>
                      <a:pt x="1246398" y="1227522"/>
                    </a:cubicBezTo>
                    <a:cubicBezTo>
                      <a:pt x="1024892" y="996520"/>
                      <a:pt x="1024892" y="996520"/>
                      <a:pt x="1024892" y="996520"/>
                    </a:cubicBezTo>
                    <a:cubicBezTo>
                      <a:pt x="1019175" y="990083"/>
                      <a:pt x="1019175" y="980071"/>
                      <a:pt x="1025606" y="974350"/>
                    </a:cubicBezTo>
                    <a:cubicBezTo>
                      <a:pt x="1042755" y="957185"/>
                      <a:pt x="1057046" y="943597"/>
                      <a:pt x="1068478" y="932154"/>
                    </a:cubicBezTo>
                    <a:cubicBezTo>
                      <a:pt x="1071336" y="930009"/>
                      <a:pt x="1073480" y="927148"/>
                      <a:pt x="1076338" y="925002"/>
                    </a:cubicBezTo>
                    <a:cubicBezTo>
                      <a:pt x="1087771" y="914275"/>
                      <a:pt x="1095631" y="906408"/>
                      <a:pt x="1100633" y="900686"/>
                    </a:cubicBezTo>
                    <a:cubicBezTo>
                      <a:pt x="1102062" y="899971"/>
                      <a:pt x="1103491" y="898541"/>
                      <a:pt x="1104205" y="897826"/>
                    </a:cubicBezTo>
                    <a:cubicBezTo>
                      <a:pt x="1113494" y="889243"/>
                      <a:pt x="1113494" y="889243"/>
                      <a:pt x="1113494" y="889243"/>
                    </a:cubicBezTo>
                    <a:cubicBezTo>
                      <a:pt x="1116352" y="886383"/>
                      <a:pt x="1120640" y="884237"/>
                      <a:pt x="1124927" y="884237"/>
                    </a:cubicBezTo>
                    <a:close/>
                    <a:moveTo>
                      <a:pt x="346518" y="565150"/>
                    </a:moveTo>
                    <a:cubicBezTo>
                      <a:pt x="324693" y="565150"/>
                      <a:pt x="306388" y="583814"/>
                      <a:pt x="306388" y="606784"/>
                    </a:cubicBezTo>
                    <a:cubicBezTo>
                      <a:pt x="306388" y="607502"/>
                      <a:pt x="306388" y="608220"/>
                      <a:pt x="306388" y="608938"/>
                    </a:cubicBezTo>
                    <a:cubicBezTo>
                      <a:pt x="307092" y="619705"/>
                      <a:pt x="312020" y="630472"/>
                      <a:pt x="319765" y="636933"/>
                    </a:cubicBezTo>
                    <a:cubicBezTo>
                      <a:pt x="326805" y="643393"/>
                      <a:pt x="336661" y="647700"/>
                      <a:pt x="346518" y="647700"/>
                    </a:cubicBezTo>
                    <a:cubicBezTo>
                      <a:pt x="369047" y="647700"/>
                      <a:pt x="387351" y="629037"/>
                      <a:pt x="387351" y="606784"/>
                    </a:cubicBezTo>
                    <a:cubicBezTo>
                      <a:pt x="387351" y="600324"/>
                      <a:pt x="385943" y="594581"/>
                      <a:pt x="383127" y="588838"/>
                    </a:cubicBezTo>
                    <a:cubicBezTo>
                      <a:pt x="378903" y="578789"/>
                      <a:pt x="370455" y="571611"/>
                      <a:pt x="360598" y="568021"/>
                    </a:cubicBezTo>
                    <a:cubicBezTo>
                      <a:pt x="356374" y="565868"/>
                      <a:pt x="351446" y="565150"/>
                      <a:pt x="346518" y="565150"/>
                    </a:cubicBezTo>
                    <a:close/>
                    <a:moveTo>
                      <a:pt x="760846" y="492125"/>
                    </a:moveTo>
                    <a:cubicBezTo>
                      <a:pt x="752187" y="492125"/>
                      <a:pt x="743528" y="494947"/>
                      <a:pt x="735591" y="499181"/>
                    </a:cubicBezTo>
                    <a:cubicBezTo>
                      <a:pt x="722602" y="506236"/>
                      <a:pt x="713221" y="519642"/>
                      <a:pt x="710335" y="535164"/>
                    </a:cubicBezTo>
                    <a:cubicBezTo>
                      <a:pt x="710335" y="537986"/>
                      <a:pt x="709613" y="540103"/>
                      <a:pt x="709613" y="542925"/>
                    </a:cubicBezTo>
                    <a:cubicBezTo>
                      <a:pt x="709613" y="571147"/>
                      <a:pt x="732704" y="593725"/>
                      <a:pt x="760846" y="593725"/>
                    </a:cubicBezTo>
                    <a:cubicBezTo>
                      <a:pt x="763011" y="593725"/>
                      <a:pt x="765176" y="593725"/>
                      <a:pt x="767341" y="593725"/>
                    </a:cubicBezTo>
                    <a:cubicBezTo>
                      <a:pt x="783216" y="591608"/>
                      <a:pt x="796926" y="583142"/>
                      <a:pt x="804864" y="570442"/>
                    </a:cubicBezTo>
                    <a:cubicBezTo>
                      <a:pt x="809915" y="562681"/>
                      <a:pt x="812801" y="553508"/>
                      <a:pt x="812801" y="542925"/>
                    </a:cubicBezTo>
                    <a:cubicBezTo>
                      <a:pt x="812801" y="542220"/>
                      <a:pt x="812801" y="540808"/>
                      <a:pt x="812801" y="539397"/>
                    </a:cubicBezTo>
                    <a:cubicBezTo>
                      <a:pt x="811358" y="515408"/>
                      <a:pt x="792597" y="495653"/>
                      <a:pt x="768062" y="492831"/>
                    </a:cubicBezTo>
                    <a:cubicBezTo>
                      <a:pt x="765898" y="492831"/>
                      <a:pt x="763733" y="492125"/>
                      <a:pt x="760846" y="492125"/>
                    </a:cubicBezTo>
                    <a:close/>
                    <a:moveTo>
                      <a:pt x="891455" y="415925"/>
                    </a:moveTo>
                    <a:cubicBezTo>
                      <a:pt x="899315" y="421636"/>
                      <a:pt x="907175" y="428060"/>
                      <a:pt x="915035" y="434485"/>
                    </a:cubicBezTo>
                    <a:cubicBezTo>
                      <a:pt x="917179" y="435913"/>
                      <a:pt x="918608" y="438054"/>
                      <a:pt x="920751" y="439482"/>
                    </a:cubicBezTo>
                    <a:cubicBezTo>
                      <a:pt x="920751" y="439482"/>
                      <a:pt x="920751" y="439482"/>
                      <a:pt x="877164" y="474460"/>
                    </a:cubicBezTo>
                    <a:cubicBezTo>
                      <a:pt x="869305" y="480885"/>
                      <a:pt x="860730" y="488023"/>
                      <a:pt x="850012" y="496589"/>
                    </a:cubicBezTo>
                    <a:cubicBezTo>
                      <a:pt x="846439" y="499445"/>
                      <a:pt x="842867" y="502300"/>
                      <a:pt x="838579" y="505155"/>
                    </a:cubicBezTo>
                    <a:cubicBezTo>
                      <a:pt x="840723" y="510152"/>
                      <a:pt x="842867" y="514435"/>
                      <a:pt x="844296" y="519432"/>
                    </a:cubicBezTo>
                    <a:cubicBezTo>
                      <a:pt x="846439" y="527285"/>
                      <a:pt x="847154" y="535137"/>
                      <a:pt x="847154" y="542989"/>
                    </a:cubicBezTo>
                    <a:cubicBezTo>
                      <a:pt x="847154" y="549414"/>
                      <a:pt x="846439" y="555124"/>
                      <a:pt x="845725" y="561549"/>
                    </a:cubicBezTo>
                    <a:cubicBezTo>
                      <a:pt x="842152" y="576540"/>
                      <a:pt x="835007" y="590103"/>
                      <a:pt x="824289" y="601524"/>
                    </a:cubicBezTo>
                    <a:cubicBezTo>
                      <a:pt x="809283" y="617942"/>
                      <a:pt x="786418" y="628650"/>
                      <a:pt x="761409" y="628650"/>
                    </a:cubicBezTo>
                    <a:cubicBezTo>
                      <a:pt x="714250" y="628650"/>
                      <a:pt x="676379" y="590103"/>
                      <a:pt x="676379" y="542989"/>
                    </a:cubicBezTo>
                    <a:cubicBezTo>
                      <a:pt x="676379" y="536564"/>
                      <a:pt x="677094" y="529426"/>
                      <a:pt x="678523" y="523715"/>
                    </a:cubicBezTo>
                    <a:cubicBezTo>
                      <a:pt x="678523" y="523715"/>
                      <a:pt x="678523" y="523715"/>
                      <a:pt x="582775" y="477316"/>
                    </a:cubicBezTo>
                    <a:cubicBezTo>
                      <a:pt x="578488" y="475174"/>
                      <a:pt x="574200" y="473033"/>
                      <a:pt x="569913" y="470891"/>
                    </a:cubicBezTo>
                    <a:cubicBezTo>
                      <a:pt x="577059" y="460183"/>
                      <a:pt x="585633" y="450903"/>
                      <a:pt x="594208" y="441623"/>
                    </a:cubicBezTo>
                    <a:cubicBezTo>
                      <a:pt x="594208" y="441623"/>
                      <a:pt x="594208" y="441623"/>
                      <a:pt x="694957" y="490165"/>
                    </a:cubicBezTo>
                    <a:cubicBezTo>
                      <a:pt x="700674" y="483026"/>
                      <a:pt x="707819" y="476602"/>
                      <a:pt x="715679" y="470891"/>
                    </a:cubicBezTo>
                    <a:cubicBezTo>
                      <a:pt x="728541" y="462325"/>
                      <a:pt x="744975" y="457328"/>
                      <a:pt x="761409" y="457328"/>
                    </a:cubicBezTo>
                    <a:cubicBezTo>
                      <a:pt x="771413" y="457328"/>
                      <a:pt x="781416" y="459470"/>
                      <a:pt x="789991" y="462325"/>
                    </a:cubicBezTo>
                    <a:cubicBezTo>
                      <a:pt x="799280" y="465894"/>
                      <a:pt x="808569" y="470891"/>
                      <a:pt x="815714" y="476602"/>
                    </a:cubicBezTo>
                    <a:cubicBezTo>
                      <a:pt x="815714" y="476602"/>
                      <a:pt x="815714" y="476602"/>
                      <a:pt x="831434" y="464466"/>
                    </a:cubicBezTo>
                    <a:cubicBezTo>
                      <a:pt x="842152" y="455900"/>
                      <a:pt x="860730" y="440910"/>
                      <a:pt x="891455" y="415925"/>
                    </a:cubicBezTo>
                    <a:close/>
                    <a:moveTo>
                      <a:pt x="772661" y="346605"/>
                    </a:moveTo>
                    <a:cubicBezTo>
                      <a:pt x="723066" y="343930"/>
                      <a:pt x="672758" y="354807"/>
                      <a:pt x="628158" y="379415"/>
                    </a:cubicBezTo>
                    <a:cubicBezTo>
                      <a:pt x="608178" y="390827"/>
                      <a:pt x="589624" y="404379"/>
                      <a:pt x="571784" y="420783"/>
                    </a:cubicBezTo>
                    <a:cubicBezTo>
                      <a:pt x="562508" y="430056"/>
                      <a:pt x="554658" y="439328"/>
                      <a:pt x="546809" y="449314"/>
                    </a:cubicBezTo>
                    <a:cubicBezTo>
                      <a:pt x="538245" y="460012"/>
                      <a:pt x="531109" y="470711"/>
                      <a:pt x="524687" y="482123"/>
                    </a:cubicBezTo>
                    <a:cubicBezTo>
                      <a:pt x="468313" y="582692"/>
                      <a:pt x="481158" y="712504"/>
                      <a:pt x="564648" y="800235"/>
                    </a:cubicBezTo>
                    <a:cubicBezTo>
                      <a:pt x="597474" y="833758"/>
                      <a:pt x="636008" y="856582"/>
                      <a:pt x="678110" y="869420"/>
                    </a:cubicBezTo>
                    <a:cubicBezTo>
                      <a:pt x="729488" y="885825"/>
                      <a:pt x="785862" y="885825"/>
                      <a:pt x="837955" y="869420"/>
                    </a:cubicBezTo>
                    <a:cubicBezTo>
                      <a:pt x="867212" y="860861"/>
                      <a:pt x="895756" y="845883"/>
                      <a:pt x="921445" y="826625"/>
                    </a:cubicBezTo>
                    <a:cubicBezTo>
                      <a:pt x="930008" y="820919"/>
                      <a:pt x="937144" y="814500"/>
                      <a:pt x="944280" y="807367"/>
                    </a:cubicBezTo>
                    <a:cubicBezTo>
                      <a:pt x="952130" y="799521"/>
                      <a:pt x="959979" y="791676"/>
                      <a:pt x="967115" y="783117"/>
                    </a:cubicBezTo>
                    <a:cubicBezTo>
                      <a:pt x="1047751" y="682548"/>
                      <a:pt x="1046324" y="537044"/>
                      <a:pt x="959979" y="437902"/>
                    </a:cubicBezTo>
                    <a:cubicBezTo>
                      <a:pt x="957125" y="435048"/>
                      <a:pt x="954270" y="431482"/>
                      <a:pt x="951416" y="427916"/>
                    </a:cubicBezTo>
                    <a:cubicBezTo>
                      <a:pt x="947135" y="423636"/>
                      <a:pt x="942853" y="419357"/>
                      <a:pt x="937858" y="415791"/>
                    </a:cubicBezTo>
                    <a:cubicBezTo>
                      <a:pt x="930008" y="408658"/>
                      <a:pt x="921445" y="401526"/>
                      <a:pt x="912882" y="395106"/>
                    </a:cubicBezTo>
                    <a:cubicBezTo>
                      <a:pt x="871137" y="365506"/>
                      <a:pt x="822256" y="349280"/>
                      <a:pt x="772661" y="346605"/>
                    </a:cubicBezTo>
                    <a:close/>
                    <a:moveTo>
                      <a:pt x="785477" y="308032"/>
                    </a:moveTo>
                    <a:cubicBezTo>
                      <a:pt x="842147" y="313027"/>
                      <a:pt x="897744" y="333721"/>
                      <a:pt x="945296" y="370115"/>
                    </a:cubicBezTo>
                    <a:cubicBezTo>
                      <a:pt x="953162" y="376537"/>
                      <a:pt x="961743" y="382959"/>
                      <a:pt x="969609" y="390809"/>
                    </a:cubicBezTo>
                    <a:cubicBezTo>
                      <a:pt x="973184" y="394377"/>
                      <a:pt x="976759" y="397231"/>
                      <a:pt x="980335" y="400799"/>
                    </a:cubicBezTo>
                    <a:cubicBezTo>
                      <a:pt x="983910" y="405081"/>
                      <a:pt x="987486" y="409363"/>
                      <a:pt x="991061" y="413644"/>
                    </a:cubicBezTo>
                    <a:cubicBezTo>
                      <a:pt x="1084021" y="521398"/>
                      <a:pt x="1089026" y="678390"/>
                      <a:pt x="1008223" y="791852"/>
                    </a:cubicBezTo>
                    <a:cubicBezTo>
                      <a:pt x="1080445" y="866780"/>
                      <a:pt x="1080445" y="866780"/>
                      <a:pt x="1080445" y="866780"/>
                    </a:cubicBezTo>
                    <a:cubicBezTo>
                      <a:pt x="1081160" y="867493"/>
                      <a:pt x="1081160" y="868207"/>
                      <a:pt x="1081875" y="868921"/>
                    </a:cubicBezTo>
                    <a:cubicBezTo>
                      <a:pt x="1083306" y="871775"/>
                      <a:pt x="1083306" y="874629"/>
                      <a:pt x="1081875" y="876770"/>
                    </a:cubicBezTo>
                    <a:cubicBezTo>
                      <a:pt x="1081875" y="876770"/>
                      <a:pt x="1081875" y="876770"/>
                      <a:pt x="1056848" y="900319"/>
                    </a:cubicBezTo>
                    <a:cubicBezTo>
                      <a:pt x="1056848" y="900319"/>
                      <a:pt x="1056848" y="900319"/>
                      <a:pt x="1055418" y="901746"/>
                    </a:cubicBezTo>
                    <a:cubicBezTo>
                      <a:pt x="1039686" y="917445"/>
                      <a:pt x="1029675" y="926722"/>
                      <a:pt x="1023954" y="931717"/>
                    </a:cubicBezTo>
                    <a:cubicBezTo>
                      <a:pt x="1014658" y="940994"/>
                      <a:pt x="1014658" y="940994"/>
                      <a:pt x="1014658" y="940994"/>
                    </a:cubicBezTo>
                    <a:cubicBezTo>
                      <a:pt x="1011798" y="944562"/>
                      <a:pt x="1006078" y="944562"/>
                      <a:pt x="1003217" y="940994"/>
                    </a:cubicBezTo>
                    <a:cubicBezTo>
                      <a:pt x="999642" y="938140"/>
                      <a:pt x="996782" y="934572"/>
                      <a:pt x="993921" y="931717"/>
                    </a:cubicBezTo>
                    <a:cubicBezTo>
                      <a:pt x="981765" y="919586"/>
                      <a:pt x="971754" y="908882"/>
                      <a:pt x="963888" y="900319"/>
                    </a:cubicBezTo>
                    <a:cubicBezTo>
                      <a:pt x="944581" y="881052"/>
                      <a:pt x="936715" y="872489"/>
                      <a:pt x="933140" y="868921"/>
                    </a:cubicBezTo>
                    <a:cubicBezTo>
                      <a:pt x="930995" y="866780"/>
                      <a:pt x="930995" y="866780"/>
                      <a:pt x="930995" y="866780"/>
                    </a:cubicBezTo>
                    <a:cubicBezTo>
                      <a:pt x="929565" y="867493"/>
                      <a:pt x="928134" y="868207"/>
                      <a:pt x="926704" y="868921"/>
                    </a:cubicBezTo>
                    <a:cubicBezTo>
                      <a:pt x="906682" y="882479"/>
                      <a:pt x="885945" y="892469"/>
                      <a:pt x="864493" y="900319"/>
                    </a:cubicBezTo>
                    <a:cubicBezTo>
                      <a:pt x="795846" y="926009"/>
                      <a:pt x="720048" y="926009"/>
                      <a:pt x="651400" y="900319"/>
                    </a:cubicBezTo>
                    <a:cubicBezTo>
                      <a:pt x="629948" y="892469"/>
                      <a:pt x="609211" y="882479"/>
                      <a:pt x="589189" y="868921"/>
                    </a:cubicBezTo>
                    <a:cubicBezTo>
                      <a:pt x="570597" y="856789"/>
                      <a:pt x="553435" y="842517"/>
                      <a:pt x="536988" y="826105"/>
                    </a:cubicBezTo>
                    <a:cubicBezTo>
                      <a:pt x="466196" y="751177"/>
                      <a:pt x="439738" y="649846"/>
                      <a:pt x="457615" y="554937"/>
                    </a:cubicBezTo>
                    <a:cubicBezTo>
                      <a:pt x="462621" y="529961"/>
                      <a:pt x="470486" y="505699"/>
                      <a:pt x="481213" y="482863"/>
                    </a:cubicBezTo>
                    <a:cubicBezTo>
                      <a:pt x="493369" y="456460"/>
                      <a:pt x="509816" y="430771"/>
                      <a:pt x="530553" y="408649"/>
                    </a:cubicBezTo>
                    <a:cubicBezTo>
                      <a:pt x="535558" y="402940"/>
                      <a:pt x="540564" y="397945"/>
                      <a:pt x="545569" y="392236"/>
                    </a:cubicBezTo>
                    <a:cubicBezTo>
                      <a:pt x="560586" y="378678"/>
                      <a:pt x="575602" y="366547"/>
                      <a:pt x="592049" y="355843"/>
                    </a:cubicBezTo>
                    <a:cubicBezTo>
                      <a:pt x="600630" y="350134"/>
                      <a:pt x="609926" y="345139"/>
                      <a:pt x="619222" y="340143"/>
                    </a:cubicBezTo>
                    <a:cubicBezTo>
                      <a:pt x="671065" y="313740"/>
                      <a:pt x="728807" y="303036"/>
                      <a:pt x="785477" y="308032"/>
                    </a:cubicBezTo>
                    <a:close/>
                    <a:moveTo>
                      <a:pt x="555676" y="304800"/>
                    </a:moveTo>
                    <a:cubicBezTo>
                      <a:pt x="570540" y="304800"/>
                      <a:pt x="583988" y="309099"/>
                      <a:pt x="595313" y="316982"/>
                    </a:cubicBezTo>
                    <a:cubicBezTo>
                      <a:pt x="584696" y="323431"/>
                      <a:pt x="574079" y="329880"/>
                      <a:pt x="563462" y="337046"/>
                    </a:cubicBezTo>
                    <a:cubicBezTo>
                      <a:pt x="561338" y="336330"/>
                      <a:pt x="558507" y="336330"/>
                      <a:pt x="555676" y="336330"/>
                    </a:cubicBezTo>
                    <a:cubicBezTo>
                      <a:pt x="533026" y="336330"/>
                      <a:pt x="515331" y="354961"/>
                      <a:pt x="515331" y="377175"/>
                    </a:cubicBezTo>
                    <a:cubicBezTo>
                      <a:pt x="515331" y="377891"/>
                      <a:pt x="515331" y="378608"/>
                      <a:pt x="515331" y="379325"/>
                    </a:cubicBezTo>
                    <a:cubicBezTo>
                      <a:pt x="506130" y="388640"/>
                      <a:pt x="498344" y="397956"/>
                      <a:pt x="490558" y="407988"/>
                    </a:cubicBezTo>
                    <a:cubicBezTo>
                      <a:pt x="486311" y="398672"/>
                      <a:pt x="484188" y="388640"/>
                      <a:pt x="484188" y="377175"/>
                    </a:cubicBezTo>
                    <a:cubicBezTo>
                      <a:pt x="484188" y="337046"/>
                      <a:pt x="516039" y="304800"/>
                      <a:pt x="555676" y="304800"/>
                    </a:cubicBezTo>
                    <a:close/>
                    <a:moveTo>
                      <a:pt x="1089384" y="233362"/>
                    </a:moveTo>
                    <a:cubicBezTo>
                      <a:pt x="1066414" y="233362"/>
                      <a:pt x="1047750" y="252026"/>
                      <a:pt x="1047750" y="274996"/>
                    </a:cubicBezTo>
                    <a:cubicBezTo>
                      <a:pt x="1047750" y="278585"/>
                      <a:pt x="1048468" y="282892"/>
                      <a:pt x="1049186" y="286481"/>
                    </a:cubicBezTo>
                    <a:cubicBezTo>
                      <a:pt x="1052775" y="296531"/>
                      <a:pt x="1059953" y="305863"/>
                      <a:pt x="1069285" y="310887"/>
                    </a:cubicBezTo>
                    <a:cubicBezTo>
                      <a:pt x="1075028" y="314476"/>
                      <a:pt x="1082206" y="315912"/>
                      <a:pt x="1089384" y="315912"/>
                    </a:cubicBezTo>
                    <a:cubicBezTo>
                      <a:pt x="1111637" y="315912"/>
                      <a:pt x="1130300" y="297249"/>
                      <a:pt x="1130300" y="274996"/>
                    </a:cubicBezTo>
                    <a:cubicBezTo>
                      <a:pt x="1130300" y="271407"/>
                      <a:pt x="1129582" y="267100"/>
                      <a:pt x="1128865" y="264229"/>
                    </a:cubicBezTo>
                    <a:cubicBezTo>
                      <a:pt x="1125993" y="253461"/>
                      <a:pt x="1118815" y="244130"/>
                      <a:pt x="1109483" y="239105"/>
                    </a:cubicBezTo>
                    <a:cubicBezTo>
                      <a:pt x="1103741" y="235516"/>
                      <a:pt x="1096562" y="233362"/>
                      <a:pt x="1089384" y="233362"/>
                    </a:cubicBezTo>
                    <a:close/>
                    <a:moveTo>
                      <a:pt x="15705" y="0"/>
                    </a:moveTo>
                    <a:cubicBezTo>
                      <a:pt x="15705" y="0"/>
                      <a:pt x="15705" y="0"/>
                      <a:pt x="1289220" y="0"/>
                    </a:cubicBezTo>
                    <a:cubicBezTo>
                      <a:pt x="1297787" y="0"/>
                      <a:pt x="1304925" y="6422"/>
                      <a:pt x="1304925" y="15698"/>
                    </a:cubicBezTo>
                    <a:cubicBezTo>
                      <a:pt x="1304925" y="15698"/>
                      <a:pt x="1304925" y="15698"/>
                      <a:pt x="1304925" y="916166"/>
                    </a:cubicBezTo>
                    <a:cubicBezTo>
                      <a:pt x="1304925" y="925441"/>
                      <a:pt x="1297787" y="931863"/>
                      <a:pt x="1289220" y="931863"/>
                    </a:cubicBezTo>
                    <a:cubicBezTo>
                      <a:pt x="1289220" y="931863"/>
                      <a:pt x="1289220" y="931863"/>
                      <a:pt x="1219977" y="931863"/>
                    </a:cubicBezTo>
                    <a:cubicBezTo>
                      <a:pt x="1219977" y="931863"/>
                      <a:pt x="1219977" y="931863"/>
                      <a:pt x="1189995" y="900468"/>
                    </a:cubicBezTo>
                    <a:cubicBezTo>
                      <a:pt x="1273516" y="900468"/>
                      <a:pt x="1273516" y="900468"/>
                      <a:pt x="1273516" y="900468"/>
                    </a:cubicBezTo>
                    <a:cubicBezTo>
                      <a:pt x="1273516" y="480916"/>
                      <a:pt x="1273516" y="264004"/>
                      <a:pt x="1273516" y="151267"/>
                    </a:cubicBezTo>
                    <a:cubicBezTo>
                      <a:pt x="1273516" y="151267"/>
                      <a:pt x="1273516" y="151267"/>
                      <a:pt x="1242106" y="175527"/>
                    </a:cubicBezTo>
                    <a:cubicBezTo>
                      <a:pt x="1242106" y="175527"/>
                      <a:pt x="1242106" y="175527"/>
                      <a:pt x="1154302" y="243312"/>
                    </a:cubicBezTo>
                    <a:cubicBezTo>
                      <a:pt x="1159299" y="253301"/>
                      <a:pt x="1161441" y="263291"/>
                      <a:pt x="1161441" y="274707"/>
                    </a:cubicBezTo>
                    <a:cubicBezTo>
                      <a:pt x="1161441" y="314664"/>
                      <a:pt x="1129317" y="346773"/>
                      <a:pt x="1089341" y="346773"/>
                    </a:cubicBezTo>
                    <a:cubicBezTo>
                      <a:pt x="1071495" y="346773"/>
                      <a:pt x="1055790" y="341065"/>
                      <a:pt x="1043655" y="331076"/>
                    </a:cubicBezTo>
                    <a:cubicBezTo>
                      <a:pt x="1043655" y="331076"/>
                      <a:pt x="1043655" y="331076"/>
                      <a:pt x="993685" y="371033"/>
                    </a:cubicBezTo>
                    <a:cubicBezTo>
                      <a:pt x="985833" y="363898"/>
                      <a:pt x="977980" y="356762"/>
                      <a:pt x="969414" y="349627"/>
                    </a:cubicBezTo>
                    <a:cubicBezTo>
                      <a:pt x="969414" y="349627"/>
                      <a:pt x="969414" y="349627"/>
                      <a:pt x="1024381" y="306102"/>
                    </a:cubicBezTo>
                    <a:cubicBezTo>
                      <a:pt x="1019384" y="296826"/>
                      <a:pt x="1016528" y="286123"/>
                      <a:pt x="1016528" y="274707"/>
                    </a:cubicBezTo>
                    <a:cubicBezTo>
                      <a:pt x="1016528" y="234750"/>
                      <a:pt x="1049365" y="201928"/>
                      <a:pt x="1089341" y="201928"/>
                    </a:cubicBezTo>
                    <a:cubicBezTo>
                      <a:pt x="1106474" y="201928"/>
                      <a:pt x="1122892" y="208349"/>
                      <a:pt x="1135028" y="219052"/>
                    </a:cubicBezTo>
                    <a:cubicBezTo>
                      <a:pt x="1135028" y="219052"/>
                      <a:pt x="1135028" y="219052"/>
                      <a:pt x="1242106" y="136283"/>
                    </a:cubicBezTo>
                    <a:cubicBezTo>
                      <a:pt x="1242106" y="136283"/>
                      <a:pt x="1242106" y="136283"/>
                      <a:pt x="1269946" y="114878"/>
                    </a:cubicBezTo>
                    <a:cubicBezTo>
                      <a:pt x="1270660" y="114164"/>
                      <a:pt x="1272088" y="113451"/>
                      <a:pt x="1273516" y="112737"/>
                    </a:cubicBezTo>
                    <a:cubicBezTo>
                      <a:pt x="1273516" y="31395"/>
                      <a:pt x="1273516" y="31395"/>
                      <a:pt x="1273516" y="31395"/>
                    </a:cubicBezTo>
                    <a:cubicBezTo>
                      <a:pt x="31410" y="31395"/>
                      <a:pt x="31410" y="31395"/>
                      <a:pt x="31410" y="31395"/>
                    </a:cubicBezTo>
                    <a:cubicBezTo>
                      <a:pt x="31410" y="406709"/>
                      <a:pt x="31410" y="620766"/>
                      <a:pt x="31410" y="741352"/>
                    </a:cubicBezTo>
                    <a:cubicBezTo>
                      <a:pt x="31410" y="741352"/>
                      <a:pt x="31410" y="741352"/>
                      <a:pt x="62819" y="726368"/>
                    </a:cubicBezTo>
                    <a:cubicBezTo>
                      <a:pt x="62819" y="726368"/>
                      <a:pt x="62819" y="726368"/>
                      <a:pt x="276976" y="623621"/>
                    </a:cubicBezTo>
                    <a:cubicBezTo>
                      <a:pt x="275548" y="617912"/>
                      <a:pt x="274834" y="612918"/>
                      <a:pt x="274834" y="607210"/>
                    </a:cubicBezTo>
                    <a:cubicBezTo>
                      <a:pt x="274834" y="567252"/>
                      <a:pt x="306957" y="534430"/>
                      <a:pt x="346933" y="534430"/>
                    </a:cubicBezTo>
                    <a:cubicBezTo>
                      <a:pt x="360496" y="534430"/>
                      <a:pt x="372632" y="537998"/>
                      <a:pt x="383340" y="543706"/>
                    </a:cubicBezTo>
                    <a:cubicBezTo>
                      <a:pt x="383340" y="543706"/>
                      <a:pt x="383340" y="543706"/>
                      <a:pt x="454725" y="465218"/>
                    </a:cubicBezTo>
                    <a:cubicBezTo>
                      <a:pt x="443304" y="489478"/>
                      <a:pt x="434737" y="514451"/>
                      <a:pt x="429026" y="540138"/>
                    </a:cubicBezTo>
                    <a:cubicBezTo>
                      <a:pt x="429026" y="540138"/>
                      <a:pt x="429026" y="540138"/>
                      <a:pt x="406183" y="565112"/>
                    </a:cubicBezTo>
                    <a:cubicBezTo>
                      <a:pt x="414749" y="577241"/>
                      <a:pt x="419746" y="591512"/>
                      <a:pt x="419746" y="607210"/>
                    </a:cubicBezTo>
                    <a:cubicBezTo>
                      <a:pt x="419746" y="647167"/>
                      <a:pt x="386909" y="679275"/>
                      <a:pt x="346933" y="679275"/>
                    </a:cubicBezTo>
                    <a:cubicBezTo>
                      <a:pt x="324090" y="679275"/>
                      <a:pt x="303388" y="668573"/>
                      <a:pt x="290539" y="651448"/>
                    </a:cubicBezTo>
                    <a:cubicBezTo>
                      <a:pt x="290539" y="651448"/>
                      <a:pt x="290539" y="651448"/>
                      <a:pt x="62819" y="761331"/>
                    </a:cubicBezTo>
                    <a:cubicBezTo>
                      <a:pt x="62819" y="761331"/>
                      <a:pt x="62819" y="761331"/>
                      <a:pt x="31410" y="776315"/>
                    </a:cubicBezTo>
                    <a:cubicBezTo>
                      <a:pt x="31410" y="900468"/>
                      <a:pt x="31410" y="900468"/>
                      <a:pt x="31410" y="900468"/>
                    </a:cubicBezTo>
                    <a:cubicBezTo>
                      <a:pt x="250563" y="900468"/>
                      <a:pt x="431168" y="900468"/>
                      <a:pt x="579650" y="900468"/>
                    </a:cubicBezTo>
                    <a:cubicBezTo>
                      <a:pt x="600351" y="913312"/>
                      <a:pt x="622481" y="924014"/>
                      <a:pt x="645324" y="931863"/>
                    </a:cubicBezTo>
                    <a:cubicBezTo>
                      <a:pt x="645324" y="931863"/>
                      <a:pt x="645324" y="931863"/>
                      <a:pt x="15705" y="931863"/>
                    </a:cubicBezTo>
                    <a:cubicBezTo>
                      <a:pt x="7139" y="931863"/>
                      <a:pt x="0" y="925441"/>
                      <a:pt x="0" y="916166"/>
                    </a:cubicBezTo>
                    <a:cubicBezTo>
                      <a:pt x="0" y="916166"/>
                      <a:pt x="0" y="916166"/>
                      <a:pt x="0" y="15698"/>
                    </a:cubicBezTo>
                    <a:cubicBezTo>
                      <a:pt x="0" y="6422"/>
                      <a:pt x="7139" y="0"/>
                      <a:pt x="15705" y="0"/>
                    </a:cubicBezTo>
                    <a:close/>
                  </a:path>
                </a:pathLst>
              </a:custGeom>
              <a:solidFill>
                <a:srgbClr val="05193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0" name="Freeform 11">
                <a:extLst>
                  <a:ext uri="{FF2B5EF4-FFF2-40B4-BE49-F238E27FC236}">
                    <a16:creationId xmlns:a16="http://schemas.microsoft.com/office/drawing/2014/main" id="{9B0CC954-32AC-4175-A46F-28DF3E729615}"/>
                  </a:ext>
                </a:extLst>
              </p:cNvPr>
              <p:cNvSpPr>
                <a:spLocks/>
              </p:cNvSpPr>
              <p:nvPr/>
            </p:nvSpPr>
            <p:spPr bwMode="auto">
              <a:xfrm>
                <a:off x="6697662" y="3179762"/>
                <a:ext cx="1181100" cy="654050"/>
              </a:xfrm>
              <a:custGeom>
                <a:avLst/>
                <a:gdLst>
                  <a:gd name="connsiteX0" fmla="*/ 363861 w 1181100"/>
                  <a:gd name="connsiteY0" fmla="*/ 458787 h 654050"/>
                  <a:gd name="connsiteX1" fmla="*/ 452503 w 1181100"/>
                  <a:gd name="connsiteY1" fmla="*/ 632593 h 654050"/>
                  <a:gd name="connsiteX2" fmla="*/ 474663 w 1181100"/>
                  <a:gd name="connsiteY2" fmla="*/ 654050 h 654050"/>
                  <a:gd name="connsiteX3" fmla="*/ 0 w 1181100"/>
                  <a:gd name="connsiteY3" fmla="*/ 654050 h 654050"/>
                  <a:gd name="connsiteX4" fmla="*/ 0 w 1181100"/>
                  <a:gd name="connsiteY4" fmla="*/ 581095 h 654050"/>
                  <a:gd name="connsiteX5" fmla="*/ 221605 w 1181100"/>
                  <a:gd name="connsiteY5" fmla="*/ 473807 h 654050"/>
                  <a:gd name="connsiteX6" fmla="*/ 284512 w 1181100"/>
                  <a:gd name="connsiteY6" fmla="*/ 495265 h 654050"/>
                  <a:gd name="connsiteX7" fmla="*/ 363861 w 1181100"/>
                  <a:gd name="connsiteY7" fmla="*/ 458787 h 654050"/>
                  <a:gd name="connsiteX8" fmla="*/ 881470 w 1181100"/>
                  <a:gd name="connsiteY8" fmla="*/ 250825 h 654050"/>
                  <a:gd name="connsiteX9" fmla="*/ 879327 w 1181100"/>
                  <a:gd name="connsiteY9" fmla="*/ 543393 h 654050"/>
                  <a:gd name="connsiteX10" fmla="*/ 859328 w 1181100"/>
                  <a:gd name="connsiteY10" fmla="*/ 564748 h 654050"/>
                  <a:gd name="connsiteX11" fmla="*/ 840757 w 1181100"/>
                  <a:gd name="connsiteY11" fmla="*/ 581121 h 654050"/>
                  <a:gd name="connsiteX12" fmla="*/ 840043 w 1181100"/>
                  <a:gd name="connsiteY12" fmla="*/ 581833 h 654050"/>
                  <a:gd name="connsiteX13" fmla="*/ 696476 w 1181100"/>
                  <a:gd name="connsiteY13" fmla="*/ 630238 h 654050"/>
                  <a:gd name="connsiteX14" fmla="*/ 526481 w 1181100"/>
                  <a:gd name="connsiteY14" fmla="*/ 558342 h 654050"/>
                  <a:gd name="connsiteX15" fmla="*/ 489339 w 1181100"/>
                  <a:gd name="connsiteY15" fmla="*/ 284993 h 654050"/>
                  <a:gd name="connsiteX16" fmla="*/ 586479 w 1181100"/>
                  <a:gd name="connsiteY16" fmla="*/ 331975 h 654050"/>
                  <a:gd name="connsiteX17" fmla="*/ 699333 w 1181100"/>
                  <a:gd name="connsiteY17" fmla="*/ 441599 h 654050"/>
                  <a:gd name="connsiteX18" fmla="*/ 805044 w 1181100"/>
                  <a:gd name="connsiteY18" fmla="*/ 368279 h 654050"/>
                  <a:gd name="connsiteX19" fmla="*/ 812901 w 1181100"/>
                  <a:gd name="connsiteY19" fmla="*/ 328416 h 654050"/>
                  <a:gd name="connsiteX20" fmla="*/ 811472 w 1181100"/>
                  <a:gd name="connsiteY20" fmla="*/ 314179 h 654050"/>
                  <a:gd name="connsiteX21" fmla="*/ 810758 w 1181100"/>
                  <a:gd name="connsiteY21" fmla="*/ 307061 h 654050"/>
                  <a:gd name="connsiteX22" fmla="*/ 815758 w 1181100"/>
                  <a:gd name="connsiteY22" fmla="*/ 302790 h 654050"/>
                  <a:gd name="connsiteX23" fmla="*/ 850043 w 1181100"/>
                  <a:gd name="connsiteY23" fmla="*/ 275739 h 654050"/>
                  <a:gd name="connsiteX24" fmla="*/ 881470 w 1181100"/>
                  <a:gd name="connsiteY24" fmla="*/ 250825 h 654050"/>
                  <a:gd name="connsiteX25" fmla="*/ 1181100 w 1181100"/>
                  <a:gd name="connsiteY25" fmla="*/ 0 h 654050"/>
                  <a:gd name="connsiteX26" fmla="*/ 1181100 w 1181100"/>
                  <a:gd name="connsiteY26" fmla="*/ 654050 h 654050"/>
                  <a:gd name="connsiteX27" fmla="*/ 1099004 w 1181100"/>
                  <a:gd name="connsiteY27" fmla="*/ 654050 h 654050"/>
                  <a:gd name="connsiteX28" fmla="*/ 1096863 w 1181100"/>
                  <a:gd name="connsiteY28" fmla="*/ 651908 h 654050"/>
                  <a:gd name="connsiteX29" fmla="*/ 1069022 w 1181100"/>
                  <a:gd name="connsiteY29" fmla="*/ 638342 h 654050"/>
                  <a:gd name="connsiteX30" fmla="*/ 1066166 w 1181100"/>
                  <a:gd name="connsiteY30" fmla="*/ 637628 h 654050"/>
                  <a:gd name="connsiteX31" fmla="*/ 1064024 w 1181100"/>
                  <a:gd name="connsiteY31" fmla="*/ 637628 h 654050"/>
                  <a:gd name="connsiteX32" fmla="*/ 1048319 w 1181100"/>
                  <a:gd name="connsiteY32" fmla="*/ 640484 h 654050"/>
                  <a:gd name="connsiteX33" fmla="*/ 1040466 w 1181100"/>
                  <a:gd name="connsiteY33" fmla="*/ 629773 h 654050"/>
                  <a:gd name="connsiteX34" fmla="*/ 986212 w 1181100"/>
                  <a:gd name="connsiteY34" fmla="*/ 573365 h 654050"/>
                  <a:gd name="connsiteX35" fmla="*/ 954087 w 1181100"/>
                  <a:gd name="connsiteY35" fmla="*/ 178507 h 654050"/>
                  <a:gd name="connsiteX36" fmla="*/ 985498 w 1181100"/>
                  <a:gd name="connsiteY36" fmla="*/ 153516 h 654050"/>
                  <a:gd name="connsiteX37" fmla="*/ 1028330 w 1181100"/>
                  <a:gd name="connsiteY37" fmla="*/ 162798 h 654050"/>
                  <a:gd name="connsiteX38" fmla="*/ 1131843 w 1181100"/>
                  <a:gd name="connsiteY38" fmla="*/ 59264 h 654050"/>
                  <a:gd name="connsiteX39" fmla="*/ 1129701 w 1181100"/>
                  <a:gd name="connsiteY39" fmla="*/ 39985 h 65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81100" h="654050">
                    <a:moveTo>
                      <a:pt x="363861" y="458787"/>
                    </a:moveTo>
                    <a:cubicBezTo>
                      <a:pt x="375299" y="521729"/>
                      <a:pt x="404608" y="582525"/>
                      <a:pt x="452503" y="632593"/>
                    </a:cubicBezTo>
                    <a:cubicBezTo>
                      <a:pt x="459651" y="640460"/>
                      <a:pt x="466800" y="647613"/>
                      <a:pt x="474663" y="654050"/>
                    </a:cubicBezTo>
                    <a:cubicBezTo>
                      <a:pt x="474663" y="654050"/>
                      <a:pt x="474663" y="654050"/>
                      <a:pt x="0" y="654050"/>
                    </a:cubicBezTo>
                    <a:cubicBezTo>
                      <a:pt x="0" y="654050"/>
                      <a:pt x="0" y="654050"/>
                      <a:pt x="0" y="581095"/>
                    </a:cubicBezTo>
                    <a:cubicBezTo>
                      <a:pt x="0" y="581095"/>
                      <a:pt x="0" y="581095"/>
                      <a:pt x="221605" y="473807"/>
                    </a:cubicBezTo>
                    <a:cubicBezTo>
                      <a:pt x="239476" y="487397"/>
                      <a:pt x="261637" y="495265"/>
                      <a:pt x="284512" y="495265"/>
                    </a:cubicBezTo>
                    <a:cubicBezTo>
                      <a:pt x="316681" y="495265"/>
                      <a:pt x="344560" y="480960"/>
                      <a:pt x="363861" y="458787"/>
                    </a:cubicBezTo>
                    <a:close/>
                    <a:moveTo>
                      <a:pt x="881470" y="250825"/>
                    </a:moveTo>
                    <a:cubicBezTo>
                      <a:pt x="948611" y="336246"/>
                      <a:pt x="949325" y="457972"/>
                      <a:pt x="879327" y="543393"/>
                    </a:cubicBezTo>
                    <a:cubicBezTo>
                      <a:pt x="873613" y="551223"/>
                      <a:pt x="866471" y="558342"/>
                      <a:pt x="859328" y="564748"/>
                    </a:cubicBezTo>
                    <a:cubicBezTo>
                      <a:pt x="852185" y="571867"/>
                      <a:pt x="846471" y="577562"/>
                      <a:pt x="840757" y="581121"/>
                    </a:cubicBezTo>
                    <a:cubicBezTo>
                      <a:pt x="840757" y="581121"/>
                      <a:pt x="840757" y="581121"/>
                      <a:pt x="840043" y="581833"/>
                    </a:cubicBezTo>
                    <a:cubicBezTo>
                      <a:pt x="799330" y="613154"/>
                      <a:pt x="747903" y="630238"/>
                      <a:pt x="696476" y="630238"/>
                    </a:cubicBezTo>
                    <a:cubicBezTo>
                      <a:pt x="631478" y="630238"/>
                      <a:pt x="571480" y="604612"/>
                      <a:pt x="526481" y="558342"/>
                    </a:cubicBezTo>
                    <a:cubicBezTo>
                      <a:pt x="455055" y="483598"/>
                      <a:pt x="442912" y="372550"/>
                      <a:pt x="489339" y="284993"/>
                    </a:cubicBezTo>
                    <a:cubicBezTo>
                      <a:pt x="489339" y="284993"/>
                      <a:pt x="489339" y="284993"/>
                      <a:pt x="586479" y="331975"/>
                    </a:cubicBezTo>
                    <a:cubicBezTo>
                      <a:pt x="588622" y="392482"/>
                      <a:pt x="638621" y="441599"/>
                      <a:pt x="699333" y="441599"/>
                    </a:cubicBezTo>
                    <a:cubicBezTo>
                      <a:pt x="747903" y="441599"/>
                      <a:pt x="789330" y="410990"/>
                      <a:pt x="805044" y="368279"/>
                    </a:cubicBezTo>
                    <a:cubicBezTo>
                      <a:pt x="810044" y="356178"/>
                      <a:pt x="812901" y="342653"/>
                      <a:pt x="812901" y="328416"/>
                    </a:cubicBezTo>
                    <a:cubicBezTo>
                      <a:pt x="812901" y="323433"/>
                      <a:pt x="812187" y="319162"/>
                      <a:pt x="811472" y="314179"/>
                    </a:cubicBezTo>
                    <a:cubicBezTo>
                      <a:pt x="811472" y="312043"/>
                      <a:pt x="811472" y="309196"/>
                      <a:pt x="810758" y="307061"/>
                    </a:cubicBezTo>
                    <a:cubicBezTo>
                      <a:pt x="810758" y="307061"/>
                      <a:pt x="810758" y="307061"/>
                      <a:pt x="815758" y="302790"/>
                    </a:cubicBezTo>
                    <a:cubicBezTo>
                      <a:pt x="820758" y="299230"/>
                      <a:pt x="830757" y="291400"/>
                      <a:pt x="850043" y="275739"/>
                    </a:cubicBezTo>
                    <a:cubicBezTo>
                      <a:pt x="857899" y="269333"/>
                      <a:pt x="868613" y="260791"/>
                      <a:pt x="881470" y="250825"/>
                    </a:cubicBezTo>
                    <a:close/>
                    <a:moveTo>
                      <a:pt x="1181100" y="0"/>
                    </a:moveTo>
                    <a:cubicBezTo>
                      <a:pt x="1181100" y="0"/>
                      <a:pt x="1181100" y="0"/>
                      <a:pt x="1181100" y="654050"/>
                    </a:cubicBezTo>
                    <a:cubicBezTo>
                      <a:pt x="1181100" y="654050"/>
                      <a:pt x="1181100" y="654050"/>
                      <a:pt x="1099004" y="654050"/>
                    </a:cubicBezTo>
                    <a:cubicBezTo>
                      <a:pt x="1099004" y="654050"/>
                      <a:pt x="1099004" y="654050"/>
                      <a:pt x="1096863" y="651908"/>
                    </a:cubicBezTo>
                    <a:cubicBezTo>
                      <a:pt x="1089724" y="644768"/>
                      <a:pt x="1079730" y="639770"/>
                      <a:pt x="1069022" y="638342"/>
                    </a:cubicBezTo>
                    <a:cubicBezTo>
                      <a:pt x="1069022" y="638342"/>
                      <a:pt x="1069022" y="638342"/>
                      <a:pt x="1066166" y="637628"/>
                    </a:cubicBezTo>
                    <a:cubicBezTo>
                      <a:pt x="1066166" y="637628"/>
                      <a:pt x="1066166" y="637628"/>
                      <a:pt x="1064024" y="637628"/>
                    </a:cubicBezTo>
                    <a:cubicBezTo>
                      <a:pt x="1058313" y="637628"/>
                      <a:pt x="1053316" y="638342"/>
                      <a:pt x="1048319" y="640484"/>
                    </a:cubicBezTo>
                    <a:cubicBezTo>
                      <a:pt x="1046177" y="636913"/>
                      <a:pt x="1043322" y="633343"/>
                      <a:pt x="1040466" y="629773"/>
                    </a:cubicBezTo>
                    <a:cubicBezTo>
                      <a:pt x="1040466" y="629773"/>
                      <a:pt x="1040466" y="629773"/>
                      <a:pt x="986212" y="573365"/>
                    </a:cubicBezTo>
                    <a:cubicBezTo>
                      <a:pt x="1061169" y="448410"/>
                      <a:pt x="1048319" y="289181"/>
                      <a:pt x="954087" y="178507"/>
                    </a:cubicBezTo>
                    <a:cubicBezTo>
                      <a:pt x="954087" y="178507"/>
                      <a:pt x="954087" y="178507"/>
                      <a:pt x="985498" y="153516"/>
                    </a:cubicBezTo>
                    <a:cubicBezTo>
                      <a:pt x="998348" y="159942"/>
                      <a:pt x="1013339" y="162798"/>
                      <a:pt x="1028330" y="162798"/>
                    </a:cubicBezTo>
                    <a:cubicBezTo>
                      <a:pt x="1085441" y="162798"/>
                      <a:pt x="1131843" y="116386"/>
                      <a:pt x="1131843" y="59264"/>
                    </a:cubicBezTo>
                    <a:cubicBezTo>
                      <a:pt x="1131843" y="52838"/>
                      <a:pt x="1131129" y="45698"/>
                      <a:pt x="1129701" y="39985"/>
                    </a:cubicBezTo>
                    <a:close/>
                  </a:path>
                </a:pathLst>
              </a:custGeom>
              <a:solidFill>
                <a:srgbClr val="0A3774"/>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aphicFrame>
        <p:nvGraphicFramePr>
          <p:cNvPr id="36" name="Object 35" hidden="1">
            <a:extLst>
              <a:ext uri="{FF2B5EF4-FFF2-40B4-BE49-F238E27FC236}">
                <a16:creationId xmlns:a16="http://schemas.microsoft.com/office/drawing/2014/main" id="{05AD85E0-5DBD-453A-BF34-FA77479056B7}"/>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654" name="think-cell Slide" r:id="rId7" imgW="384" imgH="384" progId="TCLayout.ActiveDocument.1">
                  <p:embed/>
                </p:oleObj>
              </mc:Choice>
              <mc:Fallback>
                <p:oleObj name="think-cell Slide" r:id="rId7" imgW="384" imgH="384" progId="TCLayout.ActiveDocument.1">
                  <p:embed/>
                  <p:pic>
                    <p:nvPicPr>
                      <p:cNvPr id="36" name="Object 35" hidden="1">
                        <a:extLst>
                          <a:ext uri="{FF2B5EF4-FFF2-40B4-BE49-F238E27FC236}">
                            <a16:creationId xmlns:a16="http://schemas.microsoft.com/office/drawing/2014/main" id="{05AD85E0-5DBD-453A-BF34-FA77479056B7}"/>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grpSp>
        <p:nvGrpSpPr>
          <p:cNvPr id="37" name="Group 36">
            <a:extLst>
              <a:ext uri="{FF2B5EF4-FFF2-40B4-BE49-F238E27FC236}">
                <a16:creationId xmlns:a16="http://schemas.microsoft.com/office/drawing/2014/main" id="{0D0E5205-9379-4A64-9801-6C95B433205B}"/>
              </a:ext>
            </a:extLst>
          </p:cNvPr>
          <p:cNvGrpSpPr>
            <a:grpSpLocks noChangeAspect="1"/>
          </p:cNvGrpSpPr>
          <p:nvPr/>
        </p:nvGrpSpPr>
        <p:grpSpPr>
          <a:xfrm>
            <a:off x="8468444" y="1268476"/>
            <a:ext cx="1150876" cy="1150876"/>
            <a:chOff x="5273675" y="2606675"/>
            <a:chExt cx="1644650" cy="1644650"/>
          </a:xfrm>
        </p:grpSpPr>
        <p:sp>
          <p:nvSpPr>
            <p:cNvPr id="38" name="AutoShape 51">
              <a:extLst>
                <a:ext uri="{FF2B5EF4-FFF2-40B4-BE49-F238E27FC236}">
                  <a16:creationId xmlns:a16="http://schemas.microsoft.com/office/drawing/2014/main" id="{F8917E6F-4EA1-441E-A446-BD007D9C83F3}"/>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9" name="Group 38">
              <a:extLst>
                <a:ext uri="{FF2B5EF4-FFF2-40B4-BE49-F238E27FC236}">
                  <a16:creationId xmlns:a16="http://schemas.microsoft.com/office/drawing/2014/main" id="{FDE1821E-6C18-4AED-A313-934FA8F46897}"/>
                </a:ext>
              </a:extLst>
            </p:cNvPr>
            <p:cNvGrpSpPr/>
            <p:nvPr/>
          </p:nvGrpSpPr>
          <p:grpSpPr>
            <a:xfrm>
              <a:off x="5646738" y="2889250"/>
              <a:ext cx="1102126" cy="1217613"/>
              <a:chOff x="5646738" y="2889250"/>
              <a:chExt cx="1102126" cy="1217613"/>
            </a:xfrm>
          </p:grpSpPr>
          <p:sp>
            <p:nvSpPr>
              <p:cNvPr id="40" name="Freeform 30">
                <a:extLst>
                  <a:ext uri="{FF2B5EF4-FFF2-40B4-BE49-F238E27FC236}">
                    <a16:creationId xmlns:a16="http://schemas.microsoft.com/office/drawing/2014/main" id="{75E2A4AD-C6F8-4FD3-AFC8-A8654322E975}"/>
                  </a:ext>
                </a:extLst>
              </p:cNvPr>
              <p:cNvSpPr>
                <a:spLocks/>
              </p:cNvSpPr>
              <p:nvPr/>
            </p:nvSpPr>
            <p:spPr bwMode="auto">
              <a:xfrm>
                <a:off x="5646738" y="2889250"/>
                <a:ext cx="1102126" cy="1217613"/>
              </a:xfrm>
              <a:custGeom>
                <a:avLst/>
                <a:gdLst>
                  <a:gd name="connsiteX0" fmla="*/ 859623 w 1102126"/>
                  <a:gd name="connsiteY0" fmla="*/ 901700 h 1217613"/>
                  <a:gd name="connsiteX1" fmla="*/ 793750 w 1102126"/>
                  <a:gd name="connsiteY1" fmla="*/ 964565 h 1217613"/>
                  <a:gd name="connsiteX2" fmla="*/ 866784 w 1102126"/>
                  <a:gd name="connsiteY2" fmla="*/ 1041003 h 1217613"/>
                  <a:gd name="connsiteX3" fmla="*/ 898288 w 1102126"/>
                  <a:gd name="connsiteY3" fmla="*/ 1073865 h 1217613"/>
                  <a:gd name="connsiteX4" fmla="*/ 1004974 w 1102126"/>
                  <a:gd name="connsiteY4" fmla="*/ 1183878 h 1217613"/>
                  <a:gd name="connsiteX5" fmla="*/ 1048651 w 1102126"/>
                  <a:gd name="connsiteY5" fmla="*/ 1164590 h 1217613"/>
                  <a:gd name="connsiteX6" fmla="*/ 1069415 w 1102126"/>
                  <a:gd name="connsiteY6" fmla="*/ 1133872 h 1217613"/>
                  <a:gd name="connsiteX7" fmla="*/ 1070131 w 1102126"/>
                  <a:gd name="connsiteY7" fmla="*/ 1121013 h 1217613"/>
                  <a:gd name="connsiteX8" fmla="*/ 898288 w 1102126"/>
                  <a:gd name="connsiteY8" fmla="*/ 942420 h 1217613"/>
                  <a:gd name="connsiteX9" fmla="*/ 866784 w 1102126"/>
                  <a:gd name="connsiteY9" fmla="*/ 909558 h 1217613"/>
                  <a:gd name="connsiteX10" fmla="*/ 859623 w 1102126"/>
                  <a:gd name="connsiteY10" fmla="*/ 901700 h 1217613"/>
                  <a:gd name="connsiteX11" fmla="*/ 493356 w 1102126"/>
                  <a:gd name="connsiteY11" fmla="*/ 315913 h 1217613"/>
                  <a:gd name="connsiteX12" fmla="*/ 479099 w 1102126"/>
                  <a:gd name="connsiteY12" fmla="*/ 316628 h 1217613"/>
                  <a:gd name="connsiteX13" fmla="*/ 351501 w 1102126"/>
                  <a:gd name="connsiteY13" fmla="*/ 355947 h 1217613"/>
                  <a:gd name="connsiteX14" fmla="*/ 259545 w 1102126"/>
                  <a:gd name="connsiteY14" fmla="*/ 446023 h 1217613"/>
                  <a:gd name="connsiteX15" fmla="*/ 254555 w 1102126"/>
                  <a:gd name="connsiteY15" fmla="*/ 455316 h 1217613"/>
                  <a:gd name="connsiteX16" fmla="*/ 239585 w 1102126"/>
                  <a:gd name="connsiteY16" fmla="*/ 485342 h 1217613"/>
                  <a:gd name="connsiteX17" fmla="*/ 228180 w 1102126"/>
                  <a:gd name="connsiteY17" fmla="*/ 518941 h 1217613"/>
                  <a:gd name="connsiteX18" fmla="*/ 220339 w 1102126"/>
                  <a:gd name="connsiteY18" fmla="*/ 553256 h 1217613"/>
                  <a:gd name="connsiteX19" fmla="*/ 218200 w 1102126"/>
                  <a:gd name="connsiteY19" fmla="*/ 577562 h 1217613"/>
                  <a:gd name="connsiteX20" fmla="*/ 217487 w 1102126"/>
                  <a:gd name="connsiteY20" fmla="*/ 592575 h 1217613"/>
                  <a:gd name="connsiteX21" fmla="*/ 218913 w 1102126"/>
                  <a:gd name="connsiteY21" fmla="*/ 615451 h 1217613"/>
                  <a:gd name="connsiteX22" fmla="*/ 223903 w 1102126"/>
                  <a:gd name="connsiteY22" fmla="*/ 651195 h 1217613"/>
                  <a:gd name="connsiteX23" fmla="*/ 225328 w 1102126"/>
                  <a:gd name="connsiteY23" fmla="*/ 658344 h 1217613"/>
                  <a:gd name="connsiteX24" fmla="*/ 242437 w 1102126"/>
                  <a:gd name="connsiteY24" fmla="*/ 707672 h 1217613"/>
                  <a:gd name="connsiteX25" fmla="*/ 264535 w 1102126"/>
                  <a:gd name="connsiteY25" fmla="*/ 746990 h 1217613"/>
                  <a:gd name="connsiteX26" fmla="*/ 364332 w 1102126"/>
                  <a:gd name="connsiteY26" fmla="*/ 837066 h 1217613"/>
                  <a:gd name="connsiteX27" fmla="*/ 494069 w 1102126"/>
                  <a:gd name="connsiteY27" fmla="*/ 869951 h 1217613"/>
                  <a:gd name="connsiteX28" fmla="*/ 623805 w 1102126"/>
                  <a:gd name="connsiteY28" fmla="*/ 837066 h 1217613"/>
                  <a:gd name="connsiteX29" fmla="*/ 724316 w 1102126"/>
                  <a:gd name="connsiteY29" fmla="*/ 745561 h 1217613"/>
                  <a:gd name="connsiteX30" fmla="*/ 736434 w 1102126"/>
                  <a:gd name="connsiteY30" fmla="*/ 725544 h 1217613"/>
                  <a:gd name="connsiteX31" fmla="*/ 769937 w 1102126"/>
                  <a:gd name="connsiteY31" fmla="*/ 592575 h 1217613"/>
                  <a:gd name="connsiteX32" fmla="*/ 635924 w 1102126"/>
                  <a:gd name="connsiteY32" fmla="*/ 355947 h 1217613"/>
                  <a:gd name="connsiteX33" fmla="*/ 619528 w 1102126"/>
                  <a:gd name="connsiteY33" fmla="*/ 345938 h 1217613"/>
                  <a:gd name="connsiteX34" fmla="*/ 599569 w 1102126"/>
                  <a:gd name="connsiteY34" fmla="*/ 337360 h 1217613"/>
                  <a:gd name="connsiteX35" fmla="*/ 592440 w 1102126"/>
                  <a:gd name="connsiteY35" fmla="*/ 334500 h 1217613"/>
                  <a:gd name="connsiteX36" fmla="*/ 509038 w 1102126"/>
                  <a:gd name="connsiteY36" fmla="*/ 316628 h 1217613"/>
                  <a:gd name="connsiteX37" fmla="*/ 494069 w 1102126"/>
                  <a:gd name="connsiteY37" fmla="*/ 315913 h 1217613"/>
                  <a:gd name="connsiteX38" fmla="*/ 493356 w 1102126"/>
                  <a:gd name="connsiteY38" fmla="*/ 315913 h 1217613"/>
                  <a:gd name="connsiteX39" fmla="*/ 494232 w 1102126"/>
                  <a:gd name="connsiteY39" fmla="*/ 285750 h 1217613"/>
                  <a:gd name="connsiteX40" fmla="*/ 630626 w 1102126"/>
                  <a:gd name="connsiteY40" fmla="*/ 317865 h 1217613"/>
                  <a:gd name="connsiteX41" fmla="*/ 690611 w 1102126"/>
                  <a:gd name="connsiteY41" fmla="*/ 357116 h 1217613"/>
                  <a:gd name="connsiteX42" fmla="*/ 802012 w 1102126"/>
                  <a:gd name="connsiteY42" fmla="*/ 593339 h 1217613"/>
                  <a:gd name="connsiteX43" fmla="*/ 744883 w 1102126"/>
                  <a:gd name="connsiteY43" fmla="*/ 771755 h 1217613"/>
                  <a:gd name="connsiteX44" fmla="*/ 816294 w 1102126"/>
                  <a:gd name="connsiteY44" fmla="*/ 845976 h 1217613"/>
                  <a:gd name="connsiteX45" fmla="*/ 815580 w 1102126"/>
                  <a:gd name="connsiteY45" fmla="*/ 858108 h 1217613"/>
                  <a:gd name="connsiteX46" fmla="*/ 749168 w 1102126"/>
                  <a:gd name="connsiteY46" fmla="*/ 920911 h 1217613"/>
                  <a:gd name="connsiteX47" fmla="*/ 744883 w 1102126"/>
                  <a:gd name="connsiteY47" fmla="*/ 922338 h 1217613"/>
                  <a:gd name="connsiteX48" fmla="*/ 738456 w 1102126"/>
                  <a:gd name="connsiteY48" fmla="*/ 919484 h 1217613"/>
                  <a:gd name="connsiteX49" fmla="*/ 696324 w 1102126"/>
                  <a:gd name="connsiteY49" fmla="*/ 876664 h 1217613"/>
                  <a:gd name="connsiteX50" fmla="*/ 667760 w 1102126"/>
                  <a:gd name="connsiteY50" fmla="*/ 848117 h 1217613"/>
                  <a:gd name="connsiteX51" fmla="*/ 614916 w 1102126"/>
                  <a:gd name="connsiteY51" fmla="*/ 876664 h 1217613"/>
                  <a:gd name="connsiteX52" fmla="*/ 494232 w 1102126"/>
                  <a:gd name="connsiteY52" fmla="*/ 901642 h 1217613"/>
                  <a:gd name="connsiteX53" fmla="*/ 372833 w 1102126"/>
                  <a:gd name="connsiteY53" fmla="*/ 876664 h 1217613"/>
                  <a:gd name="connsiteX54" fmla="*/ 306421 w 1102126"/>
                  <a:gd name="connsiteY54" fmla="*/ 837412 h 1217613"/>
                  <a:gd name="connsiteX55" fmla="*/ 227155 w 1102126"/>
                  <a:gd name="connsiteY55" fmla="*/ 747491 h 1217613"/>
                  <a:gd name="connsiteX56" fmla="*/ 207875 w 1102126"/>
                  <a:gd name="connsiteY56" fmla="*/ 708239 h 1217613"/>
                  <a:gd name="connsiteX57" fmla="*/ 187165 w 1102126"/>
                  <a:gd name="connsiteY57" fmla="*/ 616176 h 1217613"/>
                  <a:gd name="connsiteX58" fmla="*/ 185737 w 1102126"/>
                  <a:gd name="connsiteY58" fmla="*/ 593339 h 1217613"/>
                  <a:gd name="connsiteX59" fmla="*/ 186451 w 1102126"/>
                  <a:gd name="connsiteY59" fmla="*/ 578352 h 1217613"/>
                  <a:gd name="connsiteX60" fmla="*/ 205018 w 1102126"/>
                  <a:gd name="connsiteY60" fmla="*/ 486290 h 1217613"/>
                  <a:gd name="connsiteX61" fmla="*/ 222871 w 1102126"/>
                  <a:gd name="connsiteY61" fmla="*/ 447038 h 1217613"/>
                  <a:gd name="connsiteX62" fmla="*/ 297138 w 1102126"/>
                  <a:gd name="connsiteY62" fmla="*/ 357116 h 1217613"/>
                  <a:gd name="connsiteX63" fmla="*/ 357837 w 1102126"/>
                  <a:gd name="connsiteY63" fmla="*/ 317865 h 1217613"/>
                  <a:gd name="connsiteX64" fmla="*/ 494232 w 1102126"/>
                  <a:gd name="connsiteY64" fmla="*/ 285750 h 1217613"/>
                  <a:gd name="connsiteX65" fmla="*/ 31750 w 1102126"/>
                  <a:gd name="connsiteY65" fmla="*/ 31750 h 1217613"/>
                  <a:gd name="connsiteX66" fmla="*/ 31750 w 1102126"/>
                  <a:gd name="connsiteY66" fmla="*/ 1160463 h 1217613"/>
                  <a:gd name="connsiteX67" fmla="*/ 866775 w 1102126"/>
                  <a:gd name="connsiteY67" fmla="*/ 1160463 h 1217613"/>
                  <a:gd name="connsiteX68" fmla="*/ 866775 w 1102126"/>
                  <a:gd name="connsiteY68" fmla="*/ 1085549 h 1217613"/>
                  <a:gd name="connsiteX69" fmla="*/ 761148 w 1102126"/>
                  <a:gd name="connsiteY69" fmla="*/ 974247 h 1217613"/>
                  <a:gd name="connsiteX70" fmla="*/ 761148 w 1102126"/>
                  <a:gd name="connsiteY70" fmla="*/ 952129 h 1217613"/>
                  <a:gd name="connsiteX71" fmla="*/ 772567 w 1102126"/>
                  <a:gd name="connsiteY71" fmla="*/ 941427 h 1217613"/>
                  <a:gd name="connsiteX72" fmla="*/ 841796 w 1102126"/>
                  <a:gd name="connsiteY72" fmla="*/ 875074 h 1217613"/>
                  <a:gd name="connsiteX73" fmla="*/ 849647 w 1102126"/>
                  <a:gd name="connsiteY73" fmla="*/ 867226 h 1217613"/>
                  <a:gd name="connsiteX74" fmla="*/ 861066 w 1102126"/>
                  <a:gd name="connsiteY74" fmla="*/ 862945 h 1217613"/>
                  <a:gd name="connsiteX75" fmla="*/ 866775 w 1102126"/>
                  <a:gd name="connsiteY75" fmla="*/ 865086 h 1217613"/>
                  <a:gd name="connsiteX76" fmla="*/ 866775 w 1102126"/>
                  <a:gd name="connsiteY76" fmla="*/ 31750 h 1217613"/>
                  <a:gd name="connsiteX77" fmla="*/ 31750 w 1102126"/>
                  <a:gd name="connsiteY77" fmla="*/ 31750 h 1217613"/>
                  <a:gd name="connsiteX78" fmla="*/ 15713 w 1102126"/>
                  <a:gd name="connsiteY78" fmla="*/ 0 h 1217613"/>
                  <a:gd name="connsiteX79" fmla="*/ 882777 w 1102126"/>
                  <a:gd name="connsiteY79" fmla="*/ 0 h 1217613"/>
                  <a:gd name="connsiteX80" fmla="*/ 898490 w 1102126"/>
                  <a:gd name="connsiteY80" fmla="*/ 15711 h 1217613"/>
                  <a:gd name="connsiteX81" fmla="*/ 898490 w 1102126"/>
                  <a:gd name="connsiteY81" fmla="*/ 896249 h 1217613"/>
                  <a:gd name="connsiteX82" fmla="*/ 1092758 w 1102126"/>
                  <a:gd name="connsiteY82" fmla="*/ 1100494 h 1217613"/>
                  <a:gd name="connsiteX83" fmla="*/ 1098472 w 1102126"/>
                  <a:gd name="connsiteY83" fmla="*/ 1144771 h 1217613"/>
                  <a:gd name="connsiteX84" fmla="*/ 1069903 w 1102126"/>
                  <a:gd name="connsiteY84" fmla="*/ 1188333 h 1217613"/>
                  <a:gd name="connsiteX85" fmla="*/ 1008480 w 1102126"/>
                  <a:gd name="connsiteY85" fmla="*/ 1217613 h 1217613"/>
                  <a:gd name="connsiteX86" fmla="*/ 981340 w 1102126"/>
                  <a:gd name="connsiteY86" fmla="*/ 1206901 h 1217613"/>
                  <a:gd name="connsiteX87" fmla="*/ 898490 w 1102126"/>
                  <a:gd name="connsiteY87" fmla="*/ 1119776 h 1217613"/>
                  <a:gd name="connsiteX88" fmla="*/ 898490 w 1102126"/>
                  <a:gd name="connsiteY88" fmla="*/ 1176907 h 1217613"/>
                  <a:gd name="connsiteX89" fmla="*/ 882777 w 1102126"/>
                  <a:gd name="connsiteY89" fmla="*/ 1192618 h 1217613"/>
                  <a:gd name="connsiteX90" fmla="*/ 15713 w 1102126"/>
                  <a:gd name="connsiteY90" fmla="*/ 1192618 h 1217613"/>
                  <a:gd name="connsiteX91" fmla="*/ 0 w 1102126"/>
                  <a:gd name="connsiteY91" fmla="*/ 1176907 h 1217613"/>
                  <a:gd name="connsiteX92" fmla="*/ 0 w 1102126"/>
                  <a:gd name="connsiteY92" fmla="*/ 15711 h 1217613"/>
                  <a:gd name="connsiteX93" fmla="*/ 15713 w 1102126"/>
                  <a:gd name="connsiteY93" fmla="*/ 0 h 121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1102126" h="1217613">
                    <a:moveTo>
                      <a:pt x="859623" y="901700"/>
                    </a:moveTo>
                    <a:cubicBezTo>
                      <a:pt x="859623" y="901700"/>
                      <a:pt x="859623" y="901700"/>
                      <a:pt x="793750" y="964565"/>
                    </a:cubicBezTo>
                    <a:cubicBezTo>
                      <a:pt x="793750" y="964565"/>
                      <a:pt x="824539" y="996712"/>
                      <a:pt x="866784" y="1041003"/>
                    </a:cubicBezTo>
                    <a:cubicBezTo>
                      <a:pt x="876808" y="1051005"/>
                      <a:pt x="887548" y="1062435"/>
                      <a:pt x="898288" y="1073865"/>
                    </a:cubicBezTo>
                    <a:cubicBezTo>
                      <a:pt x="932657" y="1109583"/>
                      <a:pt x="970605" y="1148874"/>
                      <a:pt x="1004974" y="1183878"/>
                    </a:cubicBezTo>
                    <a:cubicBezTo>
                      <a:pt x="1007838" y="1187450"/>
                      <a:pt x="1027170" y="1185307"/>
                      <a:pt x="1048651" y="1164590"/>
                    </a:cubicBezTo>
                    <a:cubicBezTo>
                      <a:pt x="1057959" y="1155303"/>
                      <a:pt x="1065835" y="1143873"/>
                      <a:pt x="1069415" y="1133872"/>
                    </a:cubicBezTo>
                    <a:cubicBezTo>
                      <a:pt x="1071563" y="1126728"/>
                      <a:pt x="1070847" y="1122442"/>
                      <a:pt x="1070131" y="1121013"/>
                    </a:cubicBezTo>
                    <a:cubicBezTo>
                      <a:pt x="1070131" y="1121013"/>
                      <a:pt x="959865" y="1005999"/>
                      <a:pt x="898288" y="942420"/>
                    </a:cubicBezTo>
                    <a:cubicBezTo>
                      <a:pt x="885400" y="928132"/>
                      <a:pt x="873944" y="916702"/>
                      <a:pt x="866784" y="909558"/>
                    </a:cubicBezTo>
                    <a:cubicBezTo>
                      <a:pt x="863920" y="905986"/>
                      <a:pt x="861055" y="903129"/>
                      <a:pt x="859623" y="901700"/>
                    </a:cubicBezTo>
                    <a:close/>
                    <a:moveTo>
                      <a:pt x="493356" y="315913"/>
                    </a:moveTo>
                    <a:cubicBezTo>
                      <a:pt x="488366" y="315913"/>
                      <a:pt x="483376" y="315913"/>
                      <a:pt x="479099" y="316628"/>
                    </a:cubicBezTo>
                    <a:cubicBezTo>
                      <a:pt x="432765" y="318773"/>
                      <a:pt x="389281" y="333070"/>
                      <a:pt x="351501" y="355947"/>
                    </a:cubicBezTo>
                    <a:cubicBezTo>
                      <a:pt x="314433" y="378108"/>
                      <a:pt x="283068" y="409563"/>
                      <a:pt x="259545" y="446023"/>
                    </a:cubicBezTo>
                    <a:cubicBezTo>
                      <a:pt x="258119" y="448882"/>
                      <a:pt x="255981" y="452457"/>
                      <a:pt x="254555" y="455316"/>
                    </a:cubicBezTo>
                    <a:cubicBezTo>
                      <a:pt x="248852" y="465325"/>
                      <a:pt x="243862" y="475333"/>
                      <a:pt x="239585" y="485342"/>
                    </a:cubicBezTo>
                    <a:cubicBezTo>
                      <a:pt x="234595" y="496065"/>
                      <a:pt x="231031" y="507503"/>
                      <a:pt x="228180" y="518941"/>
                    </a:cubicBezTo>
                    <a:cubicBezTo>
                      <a:pt x="224616" y="529665"/>
                      <a:pt x="222477" y="541818"/>
                      <a:pt x="220339" y="553256"/>
                    </a:cubicBezTo>
                    <a:cubicBezTo>
                      <a:pt x="219626" y="561835"/>
                      <a:pt x="218913" y="569698"/>
                      <a:pt x="218200" y="577562"/>
                    </a:cubicBezTo>
                    <a:cubicBezTo>
                      <a:pt x="218200" y="582566"/>
                      <a:pt x="217487" y="587570"/>
                      <a:pt x="217487" y="592575"/>
                    </a:cubicBezTo>
                    <a:cubicBezTo>
                      <a:pt x="217487" y="600438"/>
                      <a:pt x="218200" y="607587"/>
                      <a:pt x="218913" y="615451"/>
                    </a:cubicBezTo>
                    <a:cubicBezTo>
                      <a:pt x="219626" y="627604"/>
                      <a:pt x="221764" y="639757"/>
                      <a:pt x="223903" y="651195"/>
                    </a:cubicBezTo>
                    <a:cubicBezTo>
                      <a:pt x="224616" y="653340"/>
                      <a:pt x="225328" y="656200"/>
                      <a:pt x="225328" y="658344"/>
                    </a:cubicBezTo>
                    <a:cubicBezTo>
                      <a:pt x="229606" y="675502"/>
                      <a:pt x="235308" y="691944"/>
                      <a:pt x="242437" y="707672"/>
                    </a:cubicBezTo>
                    <a:cubicBezTo>
                      <a:pt x="248852" y="721254"/>
                      <a:pt x="255981" y="734122"/>
                      <a:pt x="264535" y="746990"/>
                    </a:cubicBezTo>
                    <a:cubicBezTo>
                      <a:pt x="289484" y="784165"/>
                      <a:pt x="323700" y="815620"/>
                      <a:pt x="364332" y="837066"/>
                    </a:cubicBezTo>
                    <a:cubicBezTo>
                      <a:pt x="402825" y="857798"/>
                      <a:pt x="447021" y="869951"/>
                      <a:pt x="494069" y="869951"/>
                    </a:cubicBezTo>
                    <a:cubicBezTo>
                      <a:pt x="541116" y="869951"/>
                      <a:pt x="584599" y="857798"/>
                      <a:pt x="623805" y="837066"/>
                    </a:cubicBezTo>
                    <a:cubicBezTo>
                      <a:pt x="664437" y="815620"/>
                      <a:pt x="698653" y="783450"/>
                      <a:pt x="724316" y="745561"/>
                    </a:cubicBezTo>
                    <a:cubicBezTo>
                      <a:pt x="728593" y="739127"/>
                      <a:pt x="732157" y="732693"/>
                      <a:pt x="736434" y="725544"/>
                    </a:cubicBezTo>
                    <a:cubicBezTo>
                      <a:pt x="757819" y="686225"/>
                      <a:pt x="769937" y="641187"/>
                      <a:pt x="769937" y="592575"/>
                    </a:cubicBezTo>
                    <a:cubicBezTo>
                      <a:pt x="769937" y="492490"/>
                      <a:pt x="716474" y="404559"/>
                      <a:pt x="635924" y="355947"/>
                    </a:cubicBezTo>
                    <a:cubicBezTo>
                      <a:pt x="630934" y="352372"/>
                      <a:pt x="625231" y="349513"/>
                      <a:pt x="619528" y="345938"/>
                    </a:cubicBezTo>
                    <a:cubicBezTo>
                      <a:pt x="613113" y="343079"/>
                      <a:pt x="606697" y="340219"/>
                      <a:pt x="599569" y="337360"/>
                    </a:cubicBezTo>
                    <a:cubicBezTo>
                      <a:pt x="597430" y="335930"/>
                      <a:pt x="594579" y="335215"/>
                      <a:pt x="592440" y="334500"/>
                    </a:cubicBezTo>
                    <a:cubicBezTo>
                      <a:pt x="566065" y="324492"/>
                      <a:pt x="538265" y="318058"/>
                      <a:pt x="509038" y="316628"/>
                    </a:cubicBezTo>
                    <a:cubicBezTo>
                      <a:pt x="504048" y="315913"/>
                      <a:pt x="499059" y="315913"/>
                      <a:pt x="494069" y="315913"/>
                    </a:cubicBezTo>
                    <a:cubicBezTo>
                      <a:pt x="494069" y="315913"/>
                      <a:pt x="493356" y="315913"/>
                      <a:pt x="493356" y="315913"/>
                    </a:cubicBezTo>
                    <a:close/>
                    <a:moveTo>
                      <a:pt x="494232" y="285750"/>
                    </a:moveTo>
                    <a:cubicBezTo>
                      <a:pt x="542791" y="285750"/>
                      <a:pt x="589208" y="297169"/>
                      <a:pt x="630626" y="317865"/>
                    </a:cubicBezTo>
                    <a:cubicBezTo>
                      <a:pt x="652049" y="328570"/>
                      <a:pt x="672758" y="341416"/>
                      <a:pt x="690611" y="357116"/>
                    </a:cubicBezTo>
                    <a:cubicBezTo>
                      <a:pt x="759165" y="413496"/>
                      <a:pt x="802012" y="498422"/>
                      <a:pt x="802012" y="593339"/>
                    </a:cubicBezTo>
                    <a:cubicBezTo>
                      <a:pt x="802012" y="659710"/>
                      <a:pt x="781303" y="721799"/>
                      <a:pt x="744883" y="771755"/>
                    </a:cubicBezTo>
                    <a:cubicBezTo>
                      <a:pt x="754166" y="781033"/>
                      <a:pt x="816294" y="845976"/>
                      <a:pt x="816294" y="845976"/>
                    </a:cubicBezTo>
                    <a:cubicBezTo>
                      <a:pt x="819150" y="849544"/>
                      <a:pt x="819150" y="854540"/>
                      <a:pt x="815580" y="858108"/>
                    </a:cubicBezTo>
                    <a:cubicBezTo>
                      <a:pt x="815580" y="858108"/>
                      <a:pt x="815580" y="858108"/>
                      <a:pt x="749168" y="920911"/>
                    </a:cubicBezTo>
                    <a:cubicBezTo>
                      <a:pt x="747740" y="921624"/>
                      <a:pt x="746311" y="922338"/>
                      <a:pt x="744883" y="922338"/>
                    </a:cubicBezTo>
                    <a:cubicBezTo>
                      <a:pt x="742741" y="922338"/>
                      <a:pt x="740598" y="920911"/>
                      <a:pt x="738456" y="919484"/>
                    </a:cubicBezTo>
                    <a:cubicBezTo>
                      <a:pt x="734171" y="915202"/>
                      <a:pt x="714176" y="895219"/>
                      <a:pt x="696324" y="876664"/>
                    </a:cubicBezTo>
                    <a:cubicBezTo>
                      <a:pt x="683470" y="863818"/>
                      <a:pt x="671330" y="851685"/>
                      <a:pt x="667760" y="848117"/>
                    </a:cubicBezTo>
                    <a:cubicBezTo>
                      <a:pt x="651335" y="858822"/>
                      <a:pt x="633482" y="868813"/>
                      <a:pt x="614916" y="876664"/>
                    </a:cubicBezTo>
                    <a:cubicBezTo>
                      <a:pt x="577782" y="892364"/>
                      <a:pt x="537078" y="901642"/>
                      <a:pt x="494232" y="901642"/>
                    </a:cubicBezTo>
                    <a:cubicBezTo>
                      <a:pt x="451385" y="901642"/>
                      <a:pt x="409967" y="892364"/>
                      <a:pt x="372833" y="876664"/>
                    </a:cubicBezTo>
                    <a:cubicBezTo>
                      <a:pt x="349268" y="866672"/>
                      <a:pt x="326416" y="853113"/>
                      <a:pt x="306421" y="837412"/>
                    </a:cubicBezTo>
                    <a:cubicBezTo>
                      <a:pt x="274287" y="813148"/>
                      <a:pt x="247150" y="782460"/>
                      <a:pt x="227155" y="747491"/>
                    </a:cubicBezTo>
                    <a:cubicBezTo>
                      <a:pt x="220014" y="734645"/>
                      <a:pt x="213587" y="721799"/>
                      <a:pt x="207875" y="708239"/>
                    </a:cubicBezTo>
                    <a:cubicBezTo>
                      <a:pt x="196449" y="678979"/>
                      <a:pt x="189308" y="648291"/>
                      <a:pt x="187165" y="616176"/>
                    </a:cubicBezTo>
                    <a:cubicBezTo>
                      <a:pt x="186451" y="608326"/>
                      <a:pt x="185737" y="601189"/>
                      <a:pt x="185737" y="593339"/>
                    </a:cubicBezTo>
                    <a:cubicBezTo>
                      <a:pt x="185737" y="588344"/>
                      <a:pt x="186451" y="583348"/>
                      <a:pt x="186451" y="578352"/>
                    </a:cubicBezTo>
                    <a:cubicBezTo>
                      <a:pt x="187880" y="546237"/>
                      <a:pt x="194307" y="515550"/>
                      <a:pt x="205018" y="486290"/>
                    </a:cubicBezTo>
                    <a:cubicBezTo>
                      <a:pt x="210017" y="472730"/>
                      <a:pt x="216444" y="459884"/>
                      <a:pt x="222871" y="447038"/>
                    </a:cubicBezTo>
                    <a:cubicBezTo>
                      <a:pt x="242152" y="412782"/>
                      <a:pt x="267145" y="382095"/>
                      <a:pt x="297138" y="357116"/>
                    </a:cubicBezTo>
                    <a:cubicBezTo>
                      <a:pt x="315705" y="341416"/>
                      <a:pt x="335700" y="328570"/>
                      <a:pt x="357837" y="317865"/>
                    </a:cubicBezTo>
                    <a:cubicBezTo>
                      <a:pt x="398541" y="297169"/>
                      <a:pt x="444958" y="285750"/>
                      <a:pt x="494232" y="285750"/>
                    </a:cubicBezTo>
                    <a:close/>
                    <a:moveTo>
                      <a:pt x="31750" y="31750"/>
                    </a:moveTo>
                    <a:cubicBezTo>
                      <a:pt x="31750" y="31750"/>
                      <a:pt x="31750" y="31750"/>
                      <a:pt x="31750" y="1160463"/>
                    </a:cubicBezTo>
                    <a:cubicBezTo>
                      <a:pt x="31750" y="1160463"/>
                      <a:pt x="31750" y="1160463"/>
                      <a:pt x="866775" y="1160463"/>
                    </a:cubicBezTo>
                    <a:lnTo>
                      <a:pt x="866775" y="1085549"/>
                    </a:lnTo>
                    <a:cubicBezTo>
                      <a:pt x="825381" y="1042027"/>
                      <a:pt x="783273" y="997078"/>
                      <a:pt x="761148" y="974247"/>
                    </a:cubicBezTo>
                    <a:cubicBezTo>
                      <a:pt x="754725" y="967826"/>
                      <a:pt x="754725" y="957837"/>
                      <a:pt x="761148" y="952129"/>
                    </a:cubicBezTo>
                    <a:cubicBezTo>
                      <a:pt x="761148" y="952129"/>
                      <a:pt x="761148" y="952129"/>
                      <a:pt x="772567" y="941427"/>
                    </a:cubicBezTo>
                    <a:cubicBezTo>
                      <a:pt x="782559" y="931439"/>
                      <a:pt x="802543" y="912175"/>
                      <a:pt x="841796" y="875074"/>
                    </a:cubicBezTo>
                    <a:cubicBezTo>
                      <a:pt x="843937" y="872220"/>
                      <a:pt x="846792" y="870080"/>
                      <a:pt x="849647" y="867226"/>
                    </a:cubicBezTo>
                    <a:cubicBezTo>
                      <a:pt x="853215" y="864372"/>
                      <a:pt x="856783" y="862945"/>
                      <a:pt x="861066" y="862945"/>
                    </a:cubicBezTo>
                    <a:cubicBezTo>
                      <a:pt x="862493" y="862945"/>
                      <a:pt x="864634" y="863659"/>
                      <a:pt x="866775" y="865086"/>
                    </a:cubicBezTo>
                    <a:cubicBezTo>
                      <a:pt x="866775" y="865086"/>
                      <a:pt x="866775" y="865086"/>
                      <a:pt x="866775" y="31750"/>
                    </a:cubicBezTo>
                    <a:cubicBezTo>
                      <a:pt x="866775" y="31750"/>
                      <a:pt x="866775" y="31750"/>
                      <a:pt x="31750" y="31750"/>
                    </a:cubicBezTo>
                    <a:close/>
                    <a:moveTo>
                      <a:pt x="15713" y="0"/>
                    </a:moveTo>
                    <a:cubicBezTo>
                      <a:pt x="15713" y="0"/>
                      <a:pt x="15713" y="0"/>
                      <a:pt x="882777" y="0"/>
                    </a:cubicBezTo>
                    <a:cubicBezTo>
                      <a:pt x="892062" y="0"/>
                      <a:pt x="898490" y="7142"/>
                      <a:pt x="898490" y="15711"/>
                    </a:cubicBezTo>
                    <a:cubicBezTo>
                      <a:pt x="898490" y="15711"/>
                      <a:pt x="898490" y="15711"/>
                      <a:pt x="898490" y="896249"/>
                    </a:cubicBezTo>
                    <a:lnTo>
                      <a:pt x="1092758" y="1100494"/>
                    </a:lnTo>
                    <a:cubicBezTo>
                      <a:pt x="1102758" y="1111206"/>
                      <a:pt x="1104900" y="1126917"/>
                      <a:pt x="1098472" y="1144771"/>
                    </a:cubicBezTo>
                    <a:cubicBezTo>
                      <a:pt x="1093473" y="1159768"/>
                      <a:pt x="1083474" y="1174765"/>
                      <a:pt x="1069903" y="1188333"/>
                    </a:cubicBezTo>
                    <a:cubicBezTo>
                      <a:pt x="1049905" y="1206901"/>
                      <a:pt x="1027050" y="1217613"/>
                      <a:pt x="1008480" y="1217613"/>
                    </a:cubicBezTo>
                    <a:cubicBezTo>
                      <a:pt x="997767" y="1217613"/>
                      <a:pt x="988482" y="1214042"/>
                      <a:pt x="981340" y="1206901"/>
                    </a:cubicBezTo>
                    <a:cubicBezTo>
                      <a:pt x="981340" y="1206901"/>
                      <a:pt x="944200" y="1167623"/>
                      <a:pt x="898490" y="1119776"/>
                    </a:cubicBezTo>
                    <a:cubicBezTo>
                      <a:pt x="898490" y="1119776"/>
                      <a:pt x="898490" y="1119776"/>
                      <a:pt x="898490" y="1176907"/>
                    </a:cubicBezTo>
                    <a:cubicBezTo>
                      <a:pt x="898490" y="1186191"/>
                      <a:pt x="892062" y="1192618"/>
                      <a:pt x="882777" y="1192618"/>
                    </a:cubicBezTo>
                    <a:cubicBezTo>
                      <a:pt x="882777" y="1192618"/>
                      <a:pt x="882777" y="1192618"/>
                      <a:pt x="15713" y="1192618"/>
                    </a:cubicBezTo>
                    <a:cubicBezTo>
                      <a:pt x="6428" y="1192618"/>
                      <a:pt x="0" y="1186191"/>
                      <a:pt x="0" y="1176907"/>
                    </a:cubicBezTo>
                    <a:cubicBezTo>
                      <a:pt x="0" y="1176907"/>
                      <a:pt x="0" y="1176907"/>
                      <a:pt x="0" y="15711"/>
                    </a:cubicBezTo>
                    <a:cubicBezTo>
                      <a:pt x="0" y="7142"/>
                      <a:pt x="6428" y="0"/>
                      <a:pt x="15713" y="0"/>
                    </a:cubicBez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41" name="Freeform 31">
                <a:extLst>
                  <a:ext uri="{FF2B5EF4-FFF2-40B4-BE49-F238E27FC236}">
                    <a16:creationId xmlns:a16="http://schemas.microsoft.com/office/drawing/2014/main" id="{8224C1BC-67AE-415A-BFDB-DC4A259DA774}"/>
                  </a:ext>
                </a:extLst>
              </p:cNvPr>
              <p:cNvSpPr>
                <a:spLocks/>
              </p:cNvSpPr>
              <p:nvPr/>
            </p:nvSpPr>
            <p:spPr bwMode="auto">
              <a:xfrm>
                <a:off x="5808662" y="3076575"/>
                <a:ext cx="576262" cy="819151"/>
              </a:xfrm>
              <a:custGeom>
                <a:avLst/>
                <a:gdLst>
                  <a:gd name="connsiteX0" fmla="*/ 19964 w 576262"/>
                  <a:gd name="connsiteY0" fmla="*/ 779463 h 819151"/>
                  <a:gd name="connsiteX1" fmla="*/ 554711 w 576262"/>
                  <a:gd name="connsiteY1" fmla="*/ 779463 h 819151"/>
                  <a:gd name="connsiteX2" fmla="*/ 574675 w 576262"/>
                  <a:gd name="connsiteY2" fmla="*/ 798946 h 819151"/>
                  <a:gd name="connsiteX3" fmla="*/ 554711 w 576262"/>
                  <a:gd name="connsiteY3" fmla="*/ 819151 h 819151"/>
                  <a:gd name="connsiteX4" fmla="*/ 19964 w 576262"/>
                  <a:gd name="connsiteY4" fmla="*/ 819151 h 819151"/>
                  <a:gd name="connsiteX5" fmla="*/ 0 w 576262"/>
                  <a:gd name="connsiteY5" fmla="*/ 798946 h 819151"/>
                  <a:gd name="connsiteX6" fmla="*/ 19964 w 576262"/>
                  <a:gd name="connsiteY6" fmla="*/ 779463 h 819151"/>
                  <a:gd name="connsiteX7" fmla="*/ 19896 w 576262"/>
                  <a:gd name="connsiteY7" fmla="*/ 649288 h 819151"/>
                  <a:gd name="connsiteX8" fmla="*/ 99483 w 576262"/>
                  <a:gd name="connsiteY8" fmla="*/ 649288 h 819151"/>
                  <a:gd name="connsiteX9" fmla="*/ 149225 w 576262"/>
                  <a:gd name="connsiteY9" fmla="*/ 688976 h 819151"/>
                  <a:gd name="connsiteX10" fmla="*/ 19896 w 576262"/>
                  <a:gd name="connsiteY10" fmla="*/ 688976 h 819151"/>
                  <a:gd name="connsiteX11" fmla="*/ 0 w 576262"/>
                  <a:gd name="connsiteY11" fmla="*/ 669493 h 819151"/>
                  <a:gd name="connsiteX12" fmla="*/ 19896 w 576262"/>
                  <a:gd name="connsiteY12" fmla="*/ 649288 h 819151"/>
                  <a:gd name="connsiteX13" fmla="*/ 127000 w 576262"/>
                  <a:gd name="connsiteY13" fmla="*/ 538163 h 819151"/>
                  <a:gd name="connsiteX14" fmla="*/ 136993 w 576262"/>
                  <a:gd name="connsiteY14" fmla="*/ 538163 h 819151"/>
                  <a:gd name="connsiteX15" fmla="*/ 528170 w 576262"/>
                  <a:gd name="connsiteY15" fmla="*/ 538163 h 819151"/>
                  <a:gd name="connsiteX16" fmla="*/ 538163 w 576262"/>
                  <a:gd name="connsiteY16" fmla="*/ 538163 h 819151"/>
                  <a:gd name="connsiteX17" fmla="*/ 523173 w 576262"/>
                  <a:gd name="connsiteY17" fmla="*/ 559209 h 819151"/>
                  <a:gd name="connsiteX18" fmla="*/ 494620 w 576262"/>
                  <a:gd name="connsiteY18" fmla="*/ 588963 h 819151"/>
                  <a:gd name="connsiteX19" fmla="*/ 481057 w 576262"/>
                  <a:gd name="connsiteY19" fmla="*/ 588963 h 819151"/>
                  <a:gd name="connsiteX20" fmla="*/ 183392 w 576262"/>
                  <a:gd name="connsiteY20" fmla="*/ 588963 h 819151"/>
                  <a:gd name="connsiteX21" fmla="*/ 169830 w 576262"/>
                  <a:gd name="connsiteY21" fmla="*/ 588963 h 819151"/>
                  <a:gd name="connsiteX22" fmla="*/ 141990 w 576262"/>
                  <a:gd name="connsiteY22" fmla="*/ 559209 h 819151"/>
                  <a:gd name="connsiteX23" fmla="*/ 127000 w 576262"/>
                  <a:gd name="connsiteY23" fmla="*/ 538163 h 819151"/>
                  <a:gd name="connsiteX24" fmla="*/ 15153 w 576262"/>
                  <a:gd name="connsiteY24" fmla="*/ 520700 h 819151"/>
                  <a:gd name="connsiteX25" fmla="*/ 31750 w 576262"/>
                  <a:gd name="connsiteY25" fmla="*/ 558800 h 819151"/>
                  <a:gd name="connsiteX26" fmla="*/ 20204 w 576262"/>
                  <a:gd name="connsiteY26" fmla="*/ 558800 h 819151"/>
                  <a:gd name="connsiteX27" fmla="*/ 0 w 576262"/>
                  <a:gd name="connsiteY27" fmla="*/ 539045 h 819151"/>
                  <a:gd name="connsiteX28" fmla="*/ 15153 w 576262"/>
                  <a:gd name="connsiteY28" fmla="*/ 520700 h 819151"/>
                  <a:gd name="connsiteX29" fmla="*/ 87312 w 576262"/>
                  <a:gd name="connsiteY29" fmla="*/ 422275 h 819151"/>
                  <a:gd name="connsiteX30" fmla="*/ 95877 w 576262"/>
                  <a:gd name="connsiteY30" fmla="*/ 422275 h 819151"/>
                  <a:gd name="connsiteX31" fmla="*/ 568410 w 576262"/>
                  <a:gd name="connsiteY31" fmla="*/ 422275 h 819151"/>
                  <a:gd name="connsiteX32" fmla="*/ 569838 w 576262"/>
                  <a:gd name="connsiteY32" fmla="*/ 422275 h 819151"/>
                  <a:gd name="connsiteX33" fmla="*/ 576262 w 576262"/>
                  <a:gd name="connsiteY33" fmla="*/ 422275 h 819151"/>
                  <a:gd name="connsiteX34" fmla="*/ 567697 w 576262"/>
                  <a:gd name="connsiteY34" fmla="*/ 473075 h 819151"/>
                  <a:gd name="connsiteX35" fmla="*/ 559131 w 576262"/>
                  <a:gd name="connsiteY35" fmla="*/ 473075 h 819151"/>
                  <a:gd name="connsiteX36" fmla="*/ 104443 w 576262"/>
                  <a:gd name="connsiteY36" fmla="*/ 473075 h 819151"/>
                  <a:gd name="connsiteX37" fmla="*/ 96591 w 576262"/>
                  <a:gd name="connsiteY37" fmla="*/ 473075 h 819151"/>
                  <a:gd name="connsiteX38" fmla="*/ 93736 w 576262"/>
                  <a:gd name="connsiteY38" fmla="*/ 463197 h 819151"/>
                  <a:gd name="connsiteX39" fmla="*/ 88026 w 576262"/>
                  <a:gd name="connsiteY39" fmla="*/ 432153 h 819151"/>
                  <a:gd name="connsiteX40" fmla="*/ 88026 w 576262"/>
                  <a:gd name="connsiteY40" fmla="*/ 428625 h 819151"/>
                  <a:gd name="connsiteX41" fmla="*/ 87312 w 576262"/>
                  <a:gd name="connsiteY41" fmla="*/ 422275 h 819151"/>
                  <a:gd name="connsiteX42" fmla="*/ 107775 w 576262"/>
                  <a:gd name="connsiteY42" fmla="*/ 307975 h 819151"/>
                  <a:gd name="connsiteX43" fmla="*/ 117053 w 576262"/>
                  <a:gd name="connsiteY43" fmla="*/ 307975 h 819151"/>
                  <a:gd name="connsiteX44" fmla="*/ 548110 w 576262"/>
                  <a:gd name="connsiteY44" fmla="*/ 307975 h 819151"/>
                  <a:gd name="connsiteX45" fmla="*/ 556674 w 576262"/>
                  <a:gd name="connsiteY45" fmla="*/ 307975 h 819151"/>
                  <a:gd name="connsiteX46" fmla="*/ 573088 w 576262"/>
                  <a:gd name="connsiteY46" fmla="*/ 358775 h 819151"/>
                  <a:gd name="connsiteX47" fmla="*/ 564524 w 576262"/>
                  <a:gd name="connsiteY47" fmla="*/ 358775 h 819151"/>
                  <a:gd name="connsiteX48" fmla="*/ 100639 w 576262"/>
                  <a:gd name="connsiteY48" fmla="*/ 358775 h 819151"/>
                  <a:gd name="connsiteX49" fmla="*/ 92075 w 576262"/>
                  <a:gd name="connsiteY49" fmla="*/ 358775 h 819151"/>
                  <a:gd name="connsiteX50" fmla="*/ 107775 w 576262"/>
                  <a:gd name="connsiteY50" fmla="*/ 307975 h 819151"/>
                  <a:gd name="connsiteX51" fmla="*/ 19376 w 576262"/>
                  <a:gd name="connsiteY51" fmla="*/ 258763 h 819151"/>
                  <a:gd name="connsiteX52" fmla="*/ 26988 w 576262"/>
                  <a:gd name="connsiteY52" fmla="*/ 258763 h 819151"/>
                  <a:gd name="connsiteX53" fmla="*/ 26296 w 576262"/>
                  <a:gd name="connsiteY53" fmla="*/ 259482 h 819151"/>
                  <a:gd name="connsiteX54" fmla="*/ 23528 w 576262"/>
                  <a:gd name="connsiteY54" fmla="*/ 265233 h 819151"/>
                  <a:gd name="connsiteX55" fmla="*/ 11764 w 576262"/>
                  <a:gd name="connsiteY55" fmla="*/ 296863 h 819151"/>
                  <a:gd name="connsiteX56" fmla="*/ 0 w 576262"/>
                  <a:gd name="connsiteY56" fmla="*/ 278891 h 819151"/>
                  <a:gd name="connsiteX57" fmla="*/ 19376 w 576262"/>
                  <a:gd name="connsiteY57" fmla="*/ 258763 h 819151"/>
                  <a:gd name="connsiteX58" fmla="*/ 207513 w 576262"/>
                  <a:gd name="connsiteY58" fmla="*/ 195263 h 819151"/>
                  <a:gd name="connsiteX59" fmla="*/ 226809 w 576262"/>
                  <a:gd name="connsiteY59" fmla="*/ 195263 h 819151"/>
                  <a:gd name="connsiteX60" fmla="*/ 438354 w 576262"/>
                  <a:gd name="connsiteY60" fmla="*/ 195263 h 819151"/>
                  <a:gd name="connsiteX61" fmla="*/ 456936 w 576262"/>
                  <a:gd name="connsiteY61" fmla="*/ 195263 h 819151"/>
                  <a:gd name="connsiteX62" fmla="*/ 506249 w 576262"/>
                  <a:gd name="connsiteY62" fmla="*/ 233363 h 819151"/>
                  <a:gd name="connsiteX63" fmla="*/ 509822 w 576262"/>
                  <a:gd name="connsiteY63" fmla="*/ 236185 h 819151"/>
                  <a:gd name="connsiteX64" fmla="*/ 519113 w 576262"/>
                  <a:gd name="connsiteY64" fmla="*/ 246063 h 819151"/>
                  <a:gd name="connsiteX65" fmla="*/ 506249 w 576262"/>
                  <a:gd name="connsiteY65" fmla="*/ 246063 h 819151"/>
                  <a:gd name="connsiteX66" fmla="*/ 158200 w 576262"/>
                  <a:gd name="connsiteY66" fmla="*/ 246063 h 819151"/>
                  <a:gd name="connsiteX67" fmla="*/ 146050 w 576262"/>
                  <a:gd name="connsiteY67" fmla="*/ 246063 h 819151"/>
                  <a:gd name="connsiteX68" fmla="*/ 155341 w 576262"/>
                  <a:gd name="connsiteY68" fmla="*/ 236185 h 819151"/>
                  <a:gd name="connsiteX69" fmla="*/ 175352 w 576262"/>
                  <a:gd name="connsiteY69" fmla="*/ 217841 h 819151"/>
                  <a:gd name="connsiteX70" fmla="*/ 207513 w 576262"/>
                  <a:gd name="connsiteY70" fmla="*/ 195263 h 819151"/>
                  <a:gd name="connsiteX71" fmla="*/ 527050 w 576262"/>
                  <a:gd name="connsiteY71" fmla="*/ 130175 h 819151"/>
                  <a:gd name="connsiteX72" fmla="*/ 554772 w 576262"/>
                  <a:gd name="connsiteY72" fmla="*/ 130175 h 819151"/>
                  <a:gd name="connsiteX73" fmla="*/ 574675 w 576262"/>
                  <a:gd name="connsiteY73" fmla="*/ 148927 h 819151"/>
                  <a:gd name="connsiteX74" fmla="*/ 568278 w 576262"/>
                  <a:gd name="connsiteY74" fmla="*/ 163513 h 819151"/>
                  <a:gd name="connsiteX75" fmla="*/ 537713 w 576262"/>
                  <a:gd name="connsiteY75" fmla="*/ 137815 h 819151"/>
                  <a:gd name="connsiteX76" fmla="*/ 527050 w 576262"/>
                  <a:gd name="connsiteY76" fmla="*/ 130175 h 819151"/>
                  <a:gd name="connsiteX77" fmla="*/ 20037 w 576262"/>
                  <a:gd name="connsiteY77" fmla="*/ 130175 h 819151"/>
                  <a:gd name="connsiteX78" fmla="*/ 138113 w 576262"/>
                  <a:gd name="connsiteY78" fmla="*/ 130175 h 819151"/>
                  <a:gd name="connsiteX79" fmla="*/ 127379 w 576262"/>
                  <a:gd name="connsiteY79" fmla="*/ 137795 h 819151"/>
                  <a:gd name="connsiteX80" fmla="*/ 98754 w 576262"/>
                  <a:gd name="connsiteY80" fmla="*/ 161348 h 819151"/>
                  <a:gd name="connsiteX81" fmla="*/ 91598 w 576262"/>
                  <a:gd name="connsiteY81" fmla="*/ 168275 h 819151"/>
                  <a:gd name="connsiteX82" fmla="*/ 20037 w 576262"/>
                  <a:gd name="connsiteY82" fmla="*/ 168275 h 819151"/>
                  <a:gd name="connsiteX83" fmla="*/ 0 w 576262"/>
                  <a:gd name="connsiteY83" fmla="*/ 148879 h 819151"/>
                  <a:gd name="connsiteX84" fmla="*/ 20037 w 576262"/>
                  <a:gd name="connsiteY84" fmla="*/ 130175 h 819151"/>
                  <a:gd name="connsiteX85" fmla="*/ 19964 w 576262"/>
                  <a:gd name="connsiteY85" fmla="*/ 0 h 819151"/>
                  <a:gd name="connsiteX86" fmla="*/ 554711 w 576262"/>
                  <a:gd name="connsiteY86" fmla="*/ 0 h 819151"/>
                  <a:gd name="connsiteX87" fmla="*/ 574675 w 576262"/>
                  <a:gd name="connsiteY87" fmla="*/ 20205 h 819151"/>
                  <a:gd name="connsiteX88" fmla="*/ 554711 w 576262"/>
                  <a:gd name="connsiteY88" fmla="*/ 39688 h 819151"/>
                  <a:gd name="connsiteX89" fmla="*/ 19964 w 576262"/>
                  <a:gd name="connsiteY89" fmla="*/ 39688 h 819151"/>
                  <a:gd name="connsiteX90" fmla="*/ 0 w 576262"/>
                  <a:gd name="connsiteY90" fmla="*/ 20205 h 819151"/>
                  <a:gd name="connsiteX91" fmla="*/ 19964 w 576262"/>
                  <a:gd name="connsiteY91" fmla="*/ 0 h 81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576262" h="819151">
                    <a:moveTo>
                      <a:pt x="19964" y="779463"/>
                    </a:moveTo>
                    <a:cubicBezTo>
                      <a:pt x="554711" y="779463"/>
                      <a:pt x="554711" y="779463"/>
                      <a:pt x="554711" y="779463"/>
                    </a:cubicBezTo>
                    <a:cubicBezTo>
                      <a:pt x="566832" y="779463"/>
                      <a:pt x="574675" y="788122"/>
                      <a:pt x="574675" y="798946"/>
                    </a:cubicBezTo>
                    <a:cubicBezTo>
                      <a:pt x="574675" y="809770"/>
                      <a:pt x="566832" y="819151"/>
                      <a:pt x="554711" y="819151"/>
                    </a:cubicBezTo>
                    <a:cubicBezTo>
                      <a:pt x="19964" y="819151"/>
                      <a:pt x="19964" y="819151"/>
                      <a:pt x="19964" y="819151"/>
                    </a:cubicBezTo>
                    <a:cubicBezTo>
                      <a:pt x="9269" y="819151"/>
                      <a:pt x="0" y="809770"/>
                      <a:pt x="0" y="798946"/>
                    </a:cubicBezTo>
                    <a:cubicBezTo>
                      <a:pt x="0" y="788122"/>
                      <a:pt x="9269" y="779463"/>
                      <a:pt x="19964" y="779463"/>
                    </a:cubicBezTo>
                    <a:close/>
                    <a:moveTo>
                      <a:pt x="19896" y="649288"/>
                    </a:moveTo>
                    <a:cubicBezTo>
                      <a:pt x="47610" y="649288"/>
                      <a:pt x="73902" y="649288"/>
                      <a:pt x="99483" y="649288"/>
                    </a:cubicBezTo>
                    <a:cubicBezTo>
                      <a:pt x="115116" y="664442"/>
                      <a:pt x="131460" y="677431"/>
                      <a:pt x="149225" y="688976"/>
                    </a:cubicBezTo>
                    <a:cubicBezTo>
                      <a:pt x="19896" y="688976"/>
                      <a:pt x="19896" y="688976"/>
                      <a:pt x="19896" y="688976"/>
                    </a:cubicBezTo>
                    <a:cubicBezTo>
                      <a:pt x="9237" y="688976"/>
                      <a:pt x="0" y="681039"/>
                      <a:pt x="0" y="669493"/>
                    </a:cubicBezTo>
                    <a:cubicBezTo>
                      <a:pt x="0" y="658669"/>
                      <a:pt x="9237" y="649288"/>
                      <a:pt x="19896" y="649288"/>
                    </a:cubicBezTo>
                    <a:close/>
                    <a:moveTo>
                      <a:pt x="127000" y="538163"/>
                    </a:moveTo>
                    <a:cubicBezTo>
                      <a:pt x="127000" y="538163"/>
                      <a:pt x="127000" y="538163"/>
                      <a:pt x="136993" y="538163"/>
                    </a:cubicBezTo>
                    <a:cubicBezTo>
                      <a:pt x="136993" y="538163"/>
                      <a:pt x="136993" y="538163"/>
                      <a:pt x="528170" y="538163"/>
                    </a:cubicBezTo>
                    <a:cubicBezTo>
                      <a:pt x="528170" y="538163"/>
                      <a:pt x="528170" y="538163"/>
                      <a:pt x="538163" y="538163"/>
                    </a:cubicBezTo>
                    <a:cubicBezTo>
                      <a:pt x="533166" y="545420"/>
                      <a:pt x="528170" y="552677"/>
                      <a:pt x="523173" y="559209"/>
                    </a:cubicBezTo>
                    <a:cubicBezTo>
                      <a:pt x="514607" y="570095"/>
                      <a:pt x="504613" y="580255"/>
                      <a:pt x="494620" y="588963"/>
                    </a:cubicBezTo>
                    <a:cubicBezTo>
                      <a:pt x="494620" y="588963"/>
                      <a:pt x="494620" y="588963"/>
                      <a:pt x="481057" y="588963"/>
                    </a:cubicBezTo>
                    <a:cubicBezTo>
                      <a:pt x="481057" y="588963"/>
                      <a:pt x="481057" y="588963"/>
                      <a:pt x="183392" y="588963"/>
                    </a:cubicBezTo>
                    <a:cubicBezTo>
                      <a:pt x="183392" y="588963"/>
                      <a:pt x="183392" y="588963"/>
                      <a:pt x="169830" y="588963"/>
                    </a:cubicBezTo>
                    <a:cubicBezTo>
                      <a:pt x="159836" y="580255"/>
                      <a:pt x="150556" y="570095"/>
                      <a:pt x="141990" y="559209"/>
                    </a:cubicBezTo>
                    <a:cubicBezTo>
                      <a:pt x="136279" y="552677"/>
                      <a:pt x="131283" y="545420"/>
                      <a:pt x="127000" y="538163"/>
                    </a:cubicBezTo>
                    <a:close/>
                    <a:moveTo>
                      <a:pt x="15153" y="520700"/>
                    </a:moveTo>
                    <a:cubicBezTo>
                      <a:pt x="19483" y="533400"/>
                      <a:pt x="25255" y="546100"/>
                      <a:pt x="31750" y="558800"/>
                    </a:cubicBezTo>
                    <a:cubicBezTo>
                      <a:pt x="20204" y="558800"/>
                      <a:pt x="20204" y="558800"/>
                      <a:pt x="20204" y="558800"/>
                    </a:cubicBezTo>
                    <a:cubicBezTo>
                      <a:pt x="9380" y="558800"/>
                      <a:pt x="0" y="549628"/>
                      <a:pt x="0" y="539045"/>
                    </a:cubicBezTo>
                    <a:cubicBezTo>
                      <a:pt x="0" y="530578"/>
                      <a:pt x="6494" y="522817"/>
                      <a:pt x="15153" y="520700"/>
                    </a:cubicBezTo>
                    <a:close/>
                    <a:moveTo>
                      <a:pt x="87312" y="422275"/>
                    </a:moveTo>
                    <a:cubicBezTo>
                      <a:pt x="87312" y="422275"/>
                      <a:pt x="87312" y="422275"/>
                      <a:pt x="95877" y="422275"/>
                    </a:cubicBezTo>
                    <a:cubicBezTo>
                      <a:pt x="95877" y="422275"/>
                      <a:pt x="95877" y="422275"/>
                      <a:pt x="568410" y="422275"/>
                    </a:cubicBezTo>
                    <a:lnTo>
                      <a:pt x="569838" y="422275"/>
                    </a:lnTo>
                    <a:cubicBezTo>
                      <a:pt x="569838" y="422275"/>
                      <a:pt x="569838" y="422275"/>
                      <a:pt x="576262" y="422275"/>
                    </a:cubicBezTo>
                    <a:cubicBezTo>
                      <a:pt x="575548" y="439914"/>
                      <a:pt x="571979" y="456847"/>
                      <a:pt x="567697" y="473075"/>
                    </a:cubicBezTo>
                    <a:cubicBezTo>
                      <a:pt x="567697" y="473075"/>
                      <a:pt x="567697" y="473075"/>
                      <a:pt x="559131" y="473075"/>
                    </a:cubicBezTo>
                    <a:cubicBezTo>
                      <a:pt x="559131" y="473075"/>
                      <a:pt x="559131" y="473075"/>
                      <a:pt x="104443" y="473075"/>
                    </a:cubicBezTo>
                    <a:cubicBezTo>
                      <a:pt x="104443" y="473075"/>
                      <a:pt x="104443" y="473075"/>
                      <a:pt x="96591" y="473075"/>
                    </a:cubicBezTo>
                    <a:cubicBezTo>
                      <a:pt x="95877" y="469547"/>
                      <a:pt x="94450" y="466725"/>
                      <a:pt x="93736" y="463197"/>
                    </a:cubicBezTo>
                    <a:cubicBezTo>
                      <a:pt x="91595" y="453320"/>
                      <a:pt x="89453" y="442736"/>
                      <a:pt x="88026" y="432153"/>
                    </a:cubicBezTo>
                    <a:cubicBezTo>
                      <a:pt x="88026" y="430742"/>
                      <a:pt x="88026" y="429331"/>
                      <a:pt x="88026" y="428625"/>
                    </a:cubicBezTo>
                    <a:cubicBezTo>
                      <a:pt x="88026" y="426508"/>
                      <a:pt x="87312" y="424392"/>
                      <a:pt x="87312" y="422275"/>
                    </a:cubicBezTo>
                    <a:close/>
                    <a:moveTo>
                      <a:pt x="107775" y="307975"/>
                    </a:moveTo>
                    <a:cubicBezTo>
                      <a:pt x="107775" y="307975"/>
                      <a:pt x="107775" y="307975"/>
                      <a:pt x="117053" y="307975"/>
                    </a:cubicBezTo>
                    <a:cubicBezTo>
                      <a:pt x="117053" y="307975"/>
                      <a:pt x="117053" y="307975"/>
                      <a:pt x="548110" y="307975"/>
                    </a:cubicBezTo>
                    <a:cubicBezTo>
                      <a:pt x="548110" y="307975"/>
                      <a:pt x="548110" y="307975"/>
                      <a:pt x="556674" y="307975"/>
                    </a:cubicBezTo>
                    <a:cubicBezTo>
                      <a:pt x="563811" y="324203"/>
                      <a:pt x="569520" y="341136"/>
                      <a:pt x="573088" y="358775"/>
                    </a:cubicBezTo>
                    <a:cubicBezTo>
                      <a:pt x="573088" y="358775"/>
                      <a:pt x="573088" y="358775"/>
                      <a:pt x="564524" y="358775"/>
                    </a:cubicBezTo>
                    <a:lnTo>
                      <a:pt x="100639" y="358775"/>
                    </a:lnTo>
                    <a:cubicBezTo>
                      <a:pt x="100639" y="358775"/>
                      <a:pt x="100639" y="358775"/>
                      <a:pt x="92075" y="358775"/>
                    </a:cubicBezTo>
                    <a:cubicBezTo>
                      <a:pt x="95643" y="341136"/>
                      <a:pt x="100639" y="324203"/>
                      <a:pt x="107775" y="307975"/>
                    </a:cubicBezTo>
                    <a:close/>
                    <a:moveTo>
                      <a:pt x="19376" y="258763"/>
                    </a:moveTo>
                    <a:cubicBezTo>
                      <a:pt x="21452" y="258763"/>
                      <a:pt x="24220" y="258763"/>
                      <a:pt x="26988" y="258763"/>
                    </a:cubicBezTo>
                    <a:cubicBezTo>
                      <a:pt x="26988" y="258763"/>
                      <a:pt x="26988" y="258763"/>
                      <a:pt x="26296" y="259482"/>
                    </a:cubicBezTo>
                    <a:cubicBezTo>
                      <a:pt x="26296" y="259482"/>
                      <a:pt x="26296" y="259482"/>
                      <a:pt x="23528" y="265233"/>
                    </a:cubicBezTo>
                    <a:cubicBezTo>
                      <a:pt x="19376" y="276016"/>
                      <a:pt x="15224" y="286080"/>
                      <a:pt x="11764" y="296863"/>
                    </a:cubicBezTo>
                    <a:cubicBezTo>
                      <a:pt x="4844" y="293988"/>
                      <a:pt x="0" y="286799"/>
                      <a:pt x="0" y="278891"/>
                    </a:cubicBezTo>
                    <a:cubicBezTo>
                      <a:pt x="0" y="268108"/>
                      <a:pt x="8996" y="258763"/>
                      <a:pt x="19376" y="258763"/>
                    </a:cubicBezTo>
                    <a:close/>
                    <a:moveTo>
                      <a:pt x="207513" y="195263"/>
                    </a:moveTo>
                    <a:cubicBezTo>
                      <a:pt x="207513" y="195263"/>
                      <a:pt x="207513" y="195263"/>
                      <a:pt x="226809" y="195263"/>
                    </a:cubicBezTo>
                    <a:cubicBezTo>
                      <a:pt x="226809" y="195263"/>
                      <a:pt x="226809" y="195263"/>
                      <a:pt x="438354" y="195263"/>
                    </a:cubicBezTo>
                    <a:cubicBezTo>
                      <a:pt x="438354" y="195263"/>
                      <a:pt x="438354" y="195263"/>
                      <a:pt x="456936" y="195263"/>
                    </a:cubicBezTo>
                    <a:cubicBezTo>
                      <a:pt x="475518" y="205846"/>
                      <a:pt x="491955" y="218546"/>
                      <a:pt x="506249" y="233363"/>
                    </a:cubicBezTo>
                    <a:cubicBezTo>
                      <a:pt x="507678" y="234069"/>
                      <a:pt x="508393" y="235480"/>
                      <a:pt x="509822" y="236185"/>
                    </a:cubicBezTo>
                    <a:cubicBezTo>
                      <a:pt x="512681" y="239713"/>
                      <a:pt x="515540" y="243241"/>
                      <a:pt x="519113" y="246063"/>
                    </a:cubicBezTo>
                    <a:lnTo>
                      <a:pt x="506249" y="246063"/>
                    </a:lnTo>
                    <a:cubicBezTo>
                      <a:pt x="506249" y="246063"/>
                      <a:pt x="506249" y="246063"/>
                      <a:pt x="158200" y="246063"/>
                    </a:cubicBezTo>
                    <a:cubicBezTo>
                      <a:pt x="158200" y="246063"/>
                      <a:pt x="158200" y="246063"/>
                      <a:pt x="146050" y="246063"/>
                    </a:cubicBezTo>
                    <a:cubicBezTo>
                      <a:pt x="148909" y="243241"/>
                      <a:pt x="151768" y="239713"/>
                      <a:pt x="155341" y="236185"/>
                    </a:cubicBezTo>
                    <a:cubicBezTo>
                      <a:pt x="161773" y="229835"/>
                      <a:pt x="168205" y="223485"/>
                      <a:pt x="175352" y="217841"/>
                    </a:cubicBezTo>
                    <a:cubicBezTo>
                      <a:pt x="185358" y="209374"/>
                      <a:pt x="196078" y="202319"/>
                      <a:pt x="207513" y="195263"/>
                    </a:cubicBezTo>
                    <a:close/>
                    <a:moveTo>
                      <a:pt x="527050" y="130175"/>
                    </a:moveTo>
                    <a:cubicBezTo>
                      <a:pt x="554772" y="130175"/>
                      <a:pt x="554772" y="130175"/>
                      <a:pt x="554772" y="130175"/>
                    </a:cubicBezTo>
                    <a:cubicBezTo>
                      <a:pt x="566856" y="130175"/>
                      <a:pt x="574675" y="138509"/>
                      <a:pt x="574675" y="148927"/>
                    </a:cubicBezTo>
                    <a:cubicBezTo>
                      <a:pt x="574675" y="154484"/>
                      <a:pt x="571832" y="160040"/>
                      <a:pt x="568278" y="163513"/>
                    </a:cubicBezTo>
                    <a:cubicBezTo>
                      <a:pt x="558326" y="153789"/>
                      <a:pt x="548375" y="145455"/>
                      <a:pt x="537713" y="137815"/>
                    </a:cubicBezTo>
                    <a:cubicBezTo>
                      <a:pt x="534158" y="135037"/>
                      <a:pt x="530604" y="132258"/>
                      <a:pt x="527050" y="130175"/>
                    </a:cubicBezTo>
                    <a:close/>
                    <a:moveTo>
                      <a:pt x="20037" y="130175"/>
                    </a:moveTo>
                    <a:cubicBezTo>
                      <a:pt x="62258" y="130175"/>
                      <a:pt x="101617" y="130175"/>
                      <a:pt x="138113" y="130175"/>
                    </a:cubicBezTo>
                    <a:cubicBezTo>
                      <a:pt x="134535" y="132253"/>
                      <a:pt x="130241" y="135024"/>
                      <a:pt x="127379" y="137795"/>
                    </a:cubicBezTo>
                    <a:cubicBezTo>
                      <a:pt x="115213" y="146108"/>
                      <a:pt x="106626" y="153728"/>
                      <a:pt x="98754" y="161348"/>
                    </a:cubicBezTo>
                    <a:cubicBezTo>
                      <a:pt x="96607" y="163426"/>
                      <a:pt x="94460" y="165504"/>
                      <a:pt x="91598" y="168275"/>
                    </a:cubicBezTo>
                    <a:cubicBezTo>
                      <a:pt x="20037" y="168275"/>
                      <a:pt x="20037" y="168275"/>
                      <a:pt x="20037" y="168275"/>
                    </a:cubicBezTo>
                    <a:cubicBezTo>
                      <a:pt x="9303" y="168275"/>
                      <a:pt x="0" y="159269"/>
                      <a:pt x="0" y="148879"/>
                    </a:cubicBezTo>
                    <a:cubicBezTo>
                      <a:pt x="0" y="138488"/>
                      <a:pt x="9303" y="130175"/>
                      <a:pt x="20037" y="130175"/>
                    </a:cubicBezTo>
                    <a:close/>
                    <a:moveTo>
                      <a:pt x="19964" y="0"/>
                    </a:moveTo>
                    <a:cubicBezTo>
                      <a:pt x="554711" y="0"/>
                      <a:pt x="554711" y="0"/>
                      <a:pt x="554711" y="0"/>
                    </a:cubicBezTo>
                    <a:cubicBezTo>
                      <a:pt x="566832" y="0"/>
                      <a:pt x="574675" y="7937"/>
                      <a:pt x="574675" y="20205"/>
                    </a:cubicBezTo>
                    <a:cubicBezTo>
                      <a:pt x="574675" y="31029"/>
                      <a:pt x="566832" y="39688"/>
                      <a:pt x="554711" y="39688"/>
                    </a:cubicBezTo>
                    <a:cubicBezTo>
                      <a:pt x="19964" y="39688"/>
                      <a:pt x="19964" y="39688"/>
                      <a:pt x="19964" y="39688"/>
                    </a:cubicBezTo>
                    <a:cubicBezTo>
                      <a:pt x="9269" y="39688"/>
                      <a:pt x="0" y="31029"/>
                      <a:pt x="0" y="20205"/>
                    </a:cubicBezTo>
                    <a:cubicBezTo>
                      <a:pt x="0" y="7937"/>
                      <a:pt x="9269" y="0"/>
                      <a:pt x="19964" y="0"/>
                    </a:cubicBez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spTree>
    <p:extLst>
      <p:ext uri="{BB962C8B-B14F-4D97-AF65-F5344CB8AC3E}">
        <p14:creationId xmlns:p14="http://schemas.microsoft.com/office/powerpoint/2010/main" val="2157820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Text&#10;&#10;Description automatically generated">
            <a:extLst>
              <a:ext uri="{FF2B5EF4-FFF2-40B4-BE49-F238E27FC236}">
                <a16:creationId xmlns:a16="http://schemas.microsoft.com/office/drawing/2014/main" id="{B5529F32-F4E1-AC45-9DB5-B344F4105D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33600" y="0"/>
            <a:ext cx="8915400" cy="6218492"/>
          </a:xfrm>
          <a:prstGeom prst="rect">
            <a:avLst/>
          </a:prstGeom>
        </p:spPr>
      </p:pic>
    </p:spTree>
    <p:extLst>
      <p:ext uri="{BB962C8B-B14F-4D97-AF65-F5344CB8AC3E}">
        <p14:creationId xmlns:p14="http://schemas.microsoft.com/office/powerpoint/2010/main" val="333117004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1999" cy="6858000"/>
          </a:xfrm>
          <a:prstGeom prst="rect">
            <a:avLst/>
          </a:prstGeom>
        </p:spPr>
      </p:pic>
    </p:spTree>
    <p:extLst>
      <p:ext uri="{BB962C8B-B14F-4D97-AF65-F5344CB8AC3E}">
        <p14:creationId xmlns:p14="http://schemas.microsoft.com/office/powerpoint/2010/main" val="59792755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F97A4954-6B60-4060-A5A5-B4D86E50CDF5}"/>
              </a:ext>
            </a:extLst>
          </p:cNvPr>
          <p:cNvSpPr>
            <a:spLocks noGrp="1"/>
          </p:cNvSpPr>
          <p:nvPr>
            <p:ph type="media" sz="quarter" idx="14"/>
          </p:nvPr>
        </p:nvSpPr>
        <p:spPr/>
      </p:sp>
      <p:sp>
        <p:nvSpPr>
          <p:cNvPr id="3" name="Text Placeholder 6">
            <a:extLst>
              <a:ext uri="{FF2B5EF4-FFF2-40B4-BE49-F238E27FC236}">
                <a16:creationId xmlns:a16="http://schemas.microsoft.com/office/drawing/2014/main" id="{7FA4FA22-4AF7-6347-831D-CC5773794EF6}"/>
              </a:ext>
            </a:extLst>
          </p:cNvPr>
          <p:cNvSpPr txBox="1">
            <a:spLocks/>
          </p:cNvSpPr>
          <p:nvPr/>
        </p:nvSpPr>
        <p:spPr>
          <a:xfrm>
            <a:off x="71383" y="4525529"/>
            <a:ext cx="11811000" cy="1544012"/>
          </a:xfrm>
          <a:prstGeom prst="rect">
            <a:avLst/>
          </a:prstGeom>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Clr>
                <a:schemeClr val="accent2"/>
              </a:buClr>
              <a:buFont typeface="Arial" panose="020B0604020202020204" pitchFamily="34" charset="0"/>
              <a:buNone/>
              <a:defRPr sz="2800" kern="1200">
                <a:no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ts val="5333"/>
              </a:lnSpc>
              <a:buClr>
                <a:srgbClr val="12284C"/>
              </a:buClr>
            </a:pPr>
            <a:r>
              <a:rPr lang="en-US" sz="7200" dirty="0">
                <a:solidFill>
                  <a:srgbClr val="12284C"/>
                </a:solidFill>
                <a:latin typeface="+mn-lt"/>
              </a:rPr>
              <a:t>Kansas leads the </a:t>
            </a:r>
            <a:r>
              <a:rPr lang="en-US" sz="7200" dirty="0">
                <a:solidFill>
                  <a:srgbClr val="FFA400"/>
                </a:solidFill>
                <a:latin typeface="+mn-lt"/>
              </a:rPr>
              <a:t>world</a:t>
            </a:r>
            <a:r>
              <a:rPr lang="en-US" sz="7200" dirty="0">
                <a:solidFill>
                  <a:srgbClr val="12284C"/>
                </a:solidFill>
                <a:latin typeface="+mn-lt"/>
              </a:rPr>
              <a:t> in the success of each student</a:t>
            </a:r>
          </a:p>
        </p:txBody>
      </p:sp>
      <p:pic>
        <p:nvPicPr>
          <p:cNvPr id="4" name="Picture 3">
            <a:extLst>
              <a:ext uri="{FF2B5EF4-FFF2-40B4-BE49-F238E27FC236}">
                <a16:creationId xmlns:a16="http://schemas.microsoft.com/office/drawing/2014/main" id="{30430409-F00D-0944-8F3B-91BB27184B5C}"/>
              </a:ext>
            </a:extLst>
          </p:cNvPr>
          <p:cNvPicPr>
            <a:picLocks noChangeAspect="1"/>
          </p:cNvPicPr>
          <p:nvPr/>
        </p:nvPicPr>
        <p:blipFill>
          <a:blip r:embed="rId3"/>
          <a:stretch>
            <a:fillRect/>
          </a:stretch>
        </p:blipFill>
        <p:spPr>
          <a:xfrm>
            <a:off x="3" y="0"/>
            <a:ext cx="12191999" cy="4216400"/>
          </a:xfrm>
          <a:prstGeom prst="rect">
            <a:avLst/>
          </a:prstGeom>
        </p:spPr>
      </p:pic>
      <p:sp>
        <p:nvSpPr>
          <p:cNvPr id="6" name="Title 4">
            <a:extLst>
              <a:ext uri="{FF2B5EF4-FFF2-40B4-BE49-F238E27FC236}">
                <a16:creationId xmlns:a16="http://schemas.microsoft.com/office/drawing/2014/main" id="{F9509B5E-95E3-0647-B956-75BA60E888E6}"/>
              </a:ext>
            </a:extLst>
          </p:cNvPr>
          <p:cNvSpPr txBox="1">
            <a:spLocks/>
          </p:cNvSpPr>
          <p:nvPr/>
        </p:nvSpPr>
        <p:spPr>
          <a:xfrm>
            <a:off x="84083" y="2"/>
            <a:ext cx="11785600" cy="510116"/>
          </a:xfrm>
          <a:prstGeom prst="rect">
            <a:avLst/>
          </a:prstGeom>
          <a:noFill/>
        </p:spPr>
        <p:txBody>
          <a:bodyPr vert="horz" wrap="square" lIns="0" tIns="0" rIns="0" bIns="121920" rtlCol="0" anchor="t" anchorCtr="0">
            <a:noAutofit/>
          </a:bodyPr>
          <a:lstStyle>
            <a:lvl1pPr algn="l" defTabSz="914400" rtl="0" eaLnBrk="1" latinLnBrk="0" hangingPunct="1">
              <a:spcBef>
                <a:spcPct val="0"/>
              </a:spcBef>
              <a:buNone/>
              <a:defRPr sz="3200" kern="1200">
                <a:solidFill>
                  <a:schemeClr val="bg1"/>
                </a:solidFill>
                <a:latin typeface="+mj-lt"/>
                <a:ea typeface="+mj-ea"/>
                <a:cs typeface="+mj-cs"/>
              </a:defRPr>
            </a:lvl1pPr>
          </a:lstStyle>
          <a:p>
            <a:pPr defTabSz="1219110">
              <a:defRPr/>
            </a:pPr>
            <a:r>
              <a:rPr lang="en-US" sz="4400" b="1" dirty="0">
                <a:solidFill>
                  <a:schemeClr val="tx2"/>
                </a:solidFill>
                <a:latin typeface="+mn-lt"/>
              </a:rPr>
              <a:t>Our Vision for Kansas ...</a:t>
            </a:r>
          </a:p>
        </p:txBody>
      </p:sp>
    </p:spTree>
    <p:extLst>
      <p:ext uri="{BB962C8B-B14F-4D97-AF65-F5344CB8AC3E}">
        <p14:creationId xmlns:p14="http://schemas.microsoft.com/office/powerpoint/2010/main" val="3309189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D9D519-8CED-F74B-B11D-38733EAC39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096000"/>
          </a:xfrm>
          <a:prstGeom prst="rect">
            <a:avLst/>
          </a:prstGeom>
        </p:spPr>
      </p:pic>
    </p:spTree>
    <p:extLst>
      <p:ext uri="{BB962C8B-B14F-4D97-AF65-F5344CB8AC3E}">
        <p14:creationId xmlns:p14="http://schemas.microsoft.com/office/powerpoint/2010/main" val="126182800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advClick="0">
        <p15:prstTrans prst="prestige"/>
      </p:transition>
    </mc:Choice>
    <mc:Fallback xmlns="">
      <p:transition spd="slow" advClick="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33400"/>
            <a:ext cx="10515600" cy="1149351"/>
          </a:xfrm>
        </p:spPr>
        <p:txBody>
          <a:bodyPr>
            <a:normAutofit/>
          </a:bodyPr>
          <a:lstStyle/>
          <a:p>
            <a:r>
              <a:rPr lang="en-US" b="1" dirty="0">
                <a:latin typeface="+mn-lt"/>
              </a:rPr>
              <a:t>Kindergarten Readiness</a:t>
            </a:r>
          </a:p>
        </p:txBody>
      </p:sp>
      <p:sp>
        <p:nvSpPr>
          <p:cNvPr id="2" name="TextBox 1">
            <a:extLst>
              <a:ext uri="{FF2B5EF4-FFF2-40B4-BE49-F238E27FC236}">
                <a16:creationId xmlns:a16="http://schemas.microsoft.com/office/drawing/2014/main" id="{C1CDD730-C73F-704A-9C25-913EB7F03E99}"/>
              </a:ext>
            </a:extLst>
          </p:cNvPr>
          <p:cNvSpPr txBox="1"/>
          <p:nvPr/>
        </p:nvSpPr>
        <p:spPr>
          <a:xfrm>
            <a:off x="1066800" y="1682751"/>
            <a:ext cx="9753600" cy="461665"/>
          </a:xfrm>
          <a:prstGeom prst="rect">
            <a:avLst/>
          </a:prstGeom>
          <a:noFill/>
        </p:spPr>
        <p:txBody>
          <a:bodyPr wrap="square" rtlCol="0">
            <a:spAutoFit/>
          </a:bodyPr>
          <a:lstStyle/>
          <a:p>
            <a:pPr marL="342900" indent="-342900">
              <a:buClr>
                <a:schemeClr val="accent1"/>
              </a:buClr>
              <a:buSzPct val="125000"/>
              <a:buFont typeface="Arial" panose="020B0604020202020204" pitchFamily="34" charset="0"/>
              <a:buChar char="•"/>
            </a:pPr>
            <a:endParaRPr lang="en-US" dirty="0"/>
          </a:p>
        </p:txBody>
      </p:sp>
      <p:sp>
        <p:nvSpPr>
          <p:cNvPr id="5" name="Rectangle 4">
            <a:extLst>
              <a:ext uri="{FF2B5EF4-FFF2-40B4-BE49-F238E27FC236}">
                <a16:creationId xmlns:a16="http://schemas.microsoft.com/office/drawing/2014/main" id="{D3646DE0-F4BE-374E-A168-30AE8649B816}"/>
              </a:ext>
            </a:extLst>
          </p:cNvPr>
          <p:cNvSpPr/>
          <p:nvPr/>
        </p:nvSpPr>
        <p:spPr>
          <a:xfrm>
            <a:off x="457200" y="1430953"/>
            <a:ext cx="11430000" cy="4893647"/>
          </a:xfrm>
          <a:prstGeom prst="rect">
            <a:avLst/>
          </a:prstGeom>
        </p:spPr>
        <p:txBody>
          <a:bodyPr wrap="square">
            <a:spAutoFit/>
          </a:bodyPr>
          <a:lstStyle/>
          <a:p>
            <a:pPr marL="457200"/>
            <a:r>
              <a:rPr lang="en-US" dirty="0">
                <a:solidFill>
                  <a:srgbClr val="000000"/>
                </a:solidFill>
                <a:latin typeface="Open Sans Light" panose="020B0306030504020204" pitchFamily="34" charset="0"/>
              </a:rPr>
              <a:t> </a:t>
            </a:r>
            <a:endParaRPr lang="en-US" dirty="0">
              <a:solidFill>
                <a:srgbClr val="000000"/>
              </a:solidFill>
              <a:latin typeface="Calibri" panose="020F0502020204030204" pitchFamily="34" charset="0"/>
            </a:endParaRPr>
          </a:p>
          <a:p>
            <a:pPr>
              <a:buFont typeface="Arial" panose="020B0604020202020204" pitchFamily="34" charset="0"/>
              <a:buChar char="•"/>
            </a:pPr>
            <a:r>
              <a:rPr lang="en-US" dirty="0">
                <a:solidFill>
                  <a:srgbClr val="000000"/>
                </a:solidFill>
                <a:latin typeface="Open Sans Light" panose="020B0306030504020204" pitchFamily="34" charset="0"/>
              </a:rPr>
              <a:t>To advance kindergarten readiness, all accredited Kansas elementary schools are required to partner with families to administer both the Ages &amp; Stages Questionnaires®, Third Edition (ASQ-3) and Ages &amp; Stages Questionnaires®: Social-Emotional, Second Edition (ASQ:SE-2) to kindergarten students by September 20, 2021.</a:t>
            </a:r>
            <a:endParaRPr lang="en-US" dirty="0">
              <a:solidFill>
                <a:srgbClr val="000000"/>
              </a:solidFill>
              <a:latin typeface="Calibri" panose="020F0502020204030204" pitchFamily="34" charset="0"/>
            </a:endParaRPr>
          </a:p>
          <a:p>
            <a:pPr marL="457200"/>
            <a:r>
              <a:rPr lang="en-US" dirty="0">
                <a:solidFill>
                  <a:srgbClr val="000000"/>
                </a:solidFill>
                <a:latin typeface="Open Sans Light" panose="020B0306030504020204" pitchFamily="34" charset="0"/>
              </a:rPr>
              <a:t> </a:t>
            </a:r>
            <a:endParaRPr lang="en-US" dirty="0">
              <a:solidFill>
                <a:srgbClr val="000000"/>
              </a:solidFill>
              <a:latin typeface="Calibri" panose="020F0502020204030204" pitchFamily="34" charset="0"/>
            </a:endParaRPr>
          </a:p>
          <a:p>
            <a:pPr>
              <a:buFont typeface="Arial" panose="020B0604020202020204" pitchFamily="34" charset="0"/>
              <a:buChar char="•"/>
            </a:pPr>
            <a:r>
              <a:rPr lang="en-US" b="1" dirty="0">
                <a:solidFill>
                  <a:srgbClr val="000000"/>
                </a:solidFill>
                <a:latin typeface="Open Sans Light" panose="020B0306030504020204" pitchFamily="34" charset="0"/>
              </a:rPr>
              <a:t>All data (including pending Family Access screenings) must be submitted in ASQ Online by October 11, 2021. </a:t>
            </a:r>
            <a:r>
              <a:rPr lang="en-US" dirty="0">
                <a:solidFill>
                  <a:srgbClr val="000000"/>
                </a:solidFill>
                <a:latin typeface="Open Sans Light" panose="020B0306030504020204" pitchFamily="34" charset="0"/>
              </a:rPr>
              <a:t>Schools do not need to send additional data to the state once they have entered it into ASQ Online.</a:t>
            </a:r>
            <a:endParaRPr lang="en-US" dirty="0">
              <a:solidFill>
                <a:srgbClr val="000000"/>
              </a:solidFill>
              <a:latin typeface="Calibri" panose="020F0502020204030204" pitchFamily="34" charset="0"/>
            </a:endParaRPr>
          </a:p>
          <a:p>
            <a:pPr marL="457200"/>
            <a:r>
              <a:rPr lang="en-US" dirty="0">
                <a:solidFill>
                  <a:srgbClr val="000000"/>
                </a:solidFill>
                <a:latin typeface="Open Sans Light" panose="020B0306030504020204" pitchFamily="34" charset="0"/>
              </a:rPr>
              <a:t> </a:t>
            </a:r>
            <a:endParaRPr lang="en-US" dirty="0">
              <a:solidFill>
                <a:srgbClr val="000000"/>
              </a:solidFill>
              <a:latin typeface="Calibri" panose="020F0502020204030204" pitchFamily="34" charset="0"/>
            </a:endParaRPr>
          </a:p>
          <a:p>
            <a:pPr>
              <a:buFont typeface="Arial" panose="020B0604020202020204" pitchFamily="34" charset="0"/>
              <a:buChar char="•"/>
            </a:pPr>
            <a:r>
              <a:rPr lang="en-US" dirty="0">
                <a:solidFill>
                  <a:srgbClr val="000000"/>
                </a:solidFill>
                <a:latin typeface="Open Sans Light" panose="020B0306030504020204" pitchFamily="34" charset="0"/>
              </a:rPr>
              <a:t>Support is available, at </a:t>
            </a:r>
            <a:r>
              <a:rPr lang="en-US" b="1" u="sng" dirty="0">
                <a:solidFill>
                  <a:srgbClr val="954F72"/>
                </a:solidFill>
                <a:latin typeface="Open Sans Light" panose="020B0306030504020204" pitchFamily="34" charset="0"/>
                <a:hlinkClick r:id="rId3"/>
              </a:rPr>
              <a:t>agesandstages.com/ks/</a:t>
            </a:r>
            <a:r>
              <a:rPr lang="en-US" dirty="0">
                <a:solidFill>
                  <a:srgbClr val="000000"/>
                </a:solidFill>
                <a:latin typeface="Open Sans Light" panose="020B0306030504020204" pitchFamily="34" charset="0"/>
              </a:rPr>
              <a:t> and by emailing Jordan Christian, </a:t>
            </a:r>
            <a:r>
              <a:rPr lang="en-US" u="sng" dirty="0">
                <a:solidFill>
                  <a:srgbClr val="954F72"/>
                </a:solidFill>
                <a:latin typeface="Open Sans Light" panose="020B0306030504020204" pitchFamily="34" charset="0"/>
                <a:hlinkClick r:id="rId4"/>
              </a:rPr>
              <a:t>jchristian@ksde.org</a:t>
            </a:r>
            <a:r>
              <a:rPr lang="en-US" dirty="0">
                <a:solidFill>
                  <a:srgbClr val="000000"/>
                </a:solidFill>
                <a:latin typeface="Open Sans Light" panose="020B0306030504020204" pitchFamily="34" charset="0"/>
              </a:rPr>
              <a:t>. </a:t>
            </a:r>
            <a:endParaRPr lang="en-US"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35564700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AB401A-631D-E947-9CB8-7F7A3DBDEBA3}"/>
              </a:ext>
            </a:extLst>
          </p:cNvPr>
          <p:cNvSpPr>
            <a:spLocks noGrp="1"/>
          </p:cNvSpPr>
          <p:nvPr>
            <p:ph type="title"/>
          </p:nvPr>
        </p:nvSpPr>
        <p:spPr>
          <a:xfrm>
            <a:off x="838200" y="533400"/>
            <a:ext cx="10515600" cy="1149351"/>
          </a:xfrm>
        </p:spPr>
        <p:txBody>
          <a:bodyPr>
            <a:normAutofit/>
          </a:bodyPr>
          <a:lstStyle/>
          <a:p>
            <a:r>
              <a:rPr lang="en-US" sz="4800" b="1" dirty="0">
                <a:latin typeface="+mn-lt"/>
              </a:rPr>
              <a:t>Dental Screenings</a:t>
            </a:r>
          </a:p>
        </p:txBody>
      </p:sp>
      <p:sp>
        <p:nvSpPr>
          <p:cNvPr id="2" name="TextBox 1">
            <a:extLst>
              <a:ext uri="{FF2B5EF4-FFF2-40B4-BE49-F238E27FC236}">
                <a16:creationId xmlns:a16="http://schemas.microsoft.com/office/drawing/2014/main" id="{C1CDD730-C73F-704A-9C25-913EB7F03E99}"/>
              </a:ext>
            </a:extLst>
          </p:cNvPr>
          <p:cNvSpPr txBox="1"/>
          <p:nvPr/>
        </p:nvSpPr>
        <p:spPr>
          <a:xfrm>
            <a:off x="1066800" y="1682751"/>
            <a:ext cx="9753600" cy="461665"/>
          </a:xfrm>
          <a:prstGeom prst="rect">
            <a:avLst/>
          </a:prstGeom>
          <a:noFill/>
        </p:spPr>
        <p:txBody>
          <a:bodyPr wrap="square" rtlCol="0">
            <a:spAutoFit/>
          </a:bodyPr>
          <a:lstStyle/>
          <a:p>
            <a:pPr marL="342900" indent="-342900">
              <a:buClr>
                <a:schemeClr val="accent1"/>
              </a:buClr>
              <a:buSzPct val="125000"/>
              <a:buFont typeface="Arial" panose="020B0604020202020204" pitchFamily="34" charset="0"/>
              <a:buChar char="•"/>
            </a:pPr>
            <a:endParaRPr lang="en-US" dirty="0"/>
          </a:p>
        </p:txBody>
      </p:sp>
      <p:sp>
        <p:nvSpPr>
          <p:cNvPr id="5" name="Rectangle 4">
            <a:extLst>
              <a:ext uri="{FF2B5EF4-FFF2-40B4-BE49-F238E27FC236}">
                <a16:creationId xmlns:a16="http://schemas.microsoft.com/office/drawing/2014/main" id="{644AA9AA-AF42-6F46-86C1-ABCB07DB9661}"/>
              </a:ext>
            </a:extLst>
          </p:cNvPr>
          <p:cNvSpPr/>
          <p:nvPr/>
        </p:nvSpPr>
        <p:spPr>
          <a:xfrm>
            <a:off x="1752600" y="4648200"/>
            <a:ext cx="8915400" cy="954107"/>
          </a:xfrm>
          <a:prstGeom prst="rect">
            <a:avLst/>
          </a:prstGeom>
        </p:spPr>
        <p:txBody>
          <a:bodyPr wrap="square">
            <a:spAutoFit/>
          </a:bodyPr>
          <a:lstStyle/>
          <a:p>
            <a:r>
              <a:rPr lang="en-US" sz="2800" dirty="0">
                <a:solidFill>
                  <a:srgbClr val="000000"/>
                </a:solidFill>
                <a:ea typeface="Times New Roman" panose="02020603050405020304" pitchFamily="18" charset="0"/>
              </a:rPr>
              <a:t>email </a:t>
            </a:r>
            <a:r>
              <a:rPr lang="en-US" sz="2800" dirty="0">
                <a:solidFill>
                  <a:srgbClr val="0000FF"/>
                </a:solidFill>
                <a:ea typeface="Times New Roman" panose="02020603050405020304" pitchFamily="18" charset="0"/>
                <a:cs typeface="Times New Roman" panose="02020603050405020304" pitchFamily="18" charset="0"/>
                <a:hlinkClick r:id="rId3"/>
              </a:rPr>
              <a:t>KBOH@ks.gov</a:t>
            </a:r>
            <a:r>
              <a:rPr lang="en-US" sz="2800" dirty="0">
                <a:solidFill>
                  <a:srgbClr val="000000"/>
                </a:solidFill>
                <a:ea typeface="Times New Roman" panose="02020603050405020304" pitchFamily="18" charset="0"/>
              </a:rPr>
              <a:t> or call our Outreach Dental Hygienist at (785) 368-8264 for more information.</a:t>
            </a:r>
            <a:r>
              <a:rPr lang="en-US" sz="2800" dirty="0"/>
              <a:t> </a:t>
            </a:r>
          </a:p>
        </p:txBody>
      </p:sp>
      <p:sp>
        <p:nvSpPr>
          <p:cNvPr id="6" name="Rectangle 5">
            <a:extLst>
              <a:ext uri="{FF2B5EF4-FFF2-40B4-BE49-F238E27FC236}">
                <a16:creationId xmlns:a16="http://schemas.microsoft.com/office/drawing/2014/main" id="{806A683B-6EC0-3046-9E26-5FE7DF10BE9F}"/>
              </a:ext>
            </a:extLst>
          </p:cNvPr>
          <p:cNvSpPr/>
          <p:nvPr/>
        </p:nvSpPr>
        <p:spPr>
          <a:xfrm>
            <a:off x="1752600" y="2093438"/>
            <a:ext cx="8915400" cy="1815882"/>
          </a:xfrm>
          <a:prstGeom prst="rect">
            <a:avLst/>
          </a:prstGeom>
        </p:spPr>
        <p:txBody>
          <a:bodyPr wrap="square">
            <a:spAutoFit/>
          </a:bodyPr>
          <a:lstStyle/>
          <a:p>
            <a:r>
              <a:rPr lang="en-US" sz="2800" dirty="0">
                <a:solidFill>
                  <a:srgbClr val="000000"/>
                </a:solidFill>
                <a:ea typeface="Times New Roman" panose="02020603050405020304" pitchFamily="18" charset="0"/>
              </a:rPr>
              <a:t>The Bureau of Oral Health has implemented a statewide oral health screening program to satisfy </a:t>
            </a:r>
            <a:r>
              <a:rPr lang="en-US" sz="2800" dirty="0">
                <a:solidFill>
                  <a:srgbClr val="0000FF"/>
                </a:solidFill>
                <a:ea typeface="Times New Roman" panose="02020603050405020304" pitchFamily="18" charset="0"/>
                <a:cs typeface="Times New Roman" panose="02020603050405020304" pitchFamily="18" charset="0"/>
                <a:hlinkClick r:id="rId4"/>
              </a:rPr>
              <a:t>The Kansas State Statute for Annual Dental Inspection (K.S.A.72-5201)</a:t>
            </a:r>
            <a:r>
              <a:rPr lang="en-US" sz="2800" dirty="0">
                <a:solidFill>
                  <a:srgbClr val="000000"/>
                </a:solidFill>
                <a:ea typeface="Times New Roman" panose="02020603050405020304" pitchFamily="18" charset="0"/>
              </a:rPr>
              <a:t>.</a:t>
            </a:r>
            <a:r>
              <a:rPr lang="en-US" sz="2800" dirty="0"/>
              <a:t> </a:t>
            </a:r>
          </a:p>
        </p:txBody>
      </p:sp>
    </p:spTree>
    <p:extLst>
      <p:ext uri="{BB962C8B-B14F-4D97-AF65-F5344CB8AC3E}">
        <p14:creationId xmlns:p14="http://schemas.microsoft.com/office/powerpoint/2010/main" val="64395061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A741BA-15BB-4215-8467-EEDF2CA3CD3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3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8A741BA-15BB-4215-8467-EEDF2CA3CD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349EFD-393D-44CD-AFD4-02A9A102539B}"/>
              </a:ext>
            </a:extLst>
          </p:cNvPr>
          <p:cNvSpPr>
            <a:spLocks noGrp="1"/>
          </p:cNvSpPr>
          <p:nvPr>
            <p:ph type="title"/>
          </p:nvPr>
        </p:nvSpPr>
        <p:spPr/>
        <p:txBody>
          <a:bodyPr vert="horz"/>
          <a:lstStyle/>
          <a:p>
            <a:r>
              <a:rPr lang="en-US" dirty="0">
                <a:solidFill>
                  <a:srgbClr val="EDAE1D"/>
                </a:solidFill>
              </a:rPr>
              <a:t>Preventive measures |</a:t>
            </a:r>
            <a:r>
              <a:rPr lang="en-US" dirty="0"/>
              <a:t> 3 tools to keep schools safely open</a:t>
            </a:r>
          </a:p>
        </p:txBody>
      </p:sp>
      <p:sp>
        <p:nvSpPr>
          <p:cNvPr id="14" name="Oval 13">
            <a:extLst>
              <a:ext uri="{FF2B5EF4-FFF2-40B4-BE49-F238E27FC236}">
                <a16:creationId xmlns:a16="http://schemas.microsoft.com/office/drawing/2014/main" id="{84485DFC-750E-4035-BBCC-9626F96286C4}"/>
              </a:ext>
            </a:extLst>
          </p:cNvPr>
          <p:cNvSpPr/>
          <p:nvPr/>
        </p:nvSpPr>
        <p:spPr>
          <a:xfrm>
            <a:off x="1227178" y="1612325"/>
            <a:ext cx="1686428" cy="1686428"/>
          </a:xfrm>
          <a:prstGeom prst="ellipse">
            <a:avLst/>
          </a:prstGeom>
          <a:noFill/>
          <a:ln w="19050"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5" name="Oval 14">
            <a:extLst>
              <a:ext uri="{FF2B5EF4-FFF2-40B4-BE49-F238E27FC236}">
                <a16:creationId xmlns:a16="http://schemas.microsoft.com/office/drawing/2014/main" id="{FE951C6D-D0DB-4002-9F60-C0C8F7BD50F1}"/>
              </a:ext>
            </a:extLst>
          </p:cNvPr>
          <p:cNvSpPr/>
          <p:nvPr/>
        </p:nvSpPr>
        <p:spPr>
          <a:xfrm>
            <a:off x="5252785" y="1609052"/>
            <a:ext cx="1686428" cy="1686428"/>
          </a:xfrm>
          <a:prstGeom prst="ellipse">
            <a:avLst/>
          </a:prstGeom>
          <a:noFill/>
          <a:ln w="19050"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6" name="Oval 15">
            <a:extLst>
              <a:ext uri="{FF2B5EF4-FFF2-40B4-BE49-F238E27FC236}">
                <a16:creationId xmlns:a16="http://schemas.microsoft.com/office/drawing/2014/main" id="{2CE6C630-AB32-4B4B-AE81-D0AF5239F2EC}"/>
              </a:ext>
            </a:extLst>
          </p:cNvPr>
          <p:cNvSpPr/>
          <p:nvPr/>
        </p:nvSpPr>
        <p:spPr>
          <a:xfrm>
            <a:off x="9278392" y="1608702"/>
            <a:ext cx="1686428" cy="1686428"/>
          </a:xfrm>
          <a:prstGeom prst="ellipse">
            <a:avLst/>
          </a:prstGeom>
          <a:noFill/>
          <a:ln w="19050"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nvGrpSpPr>
          <p:cNvPr id="17" name="bcgIcons_Syringe">
            <a:extLst>
              <a:ext uri="{FF2B5EF4-FFF2-40B4-BE49-F238E27FC236}">
                <a16:creationId xmlns:a16="http://schemas.microsoft.com/office/drawing/2014/main" id="{1C98B397-6FC5-42C9-8253-5C42B464D48C}"/>
              </a:ext>
            </a:extLst>
          </p:cNvPr>
          <p:cNvGrpSpPr>
            <a:grpSpLocks noChangeAspect="1"/>
          </p:cNvGrpSpPr>
          <p:nvPr/>
        </p:nvGrpSpPr>
        <p:grpSpPr bwMode="auto">
          <a:xfrm>
            <a:off x="1377168" y="1643714"/>
            <a:ext cx="1494601" cy="1495986"/>
            <a:chOff x="1682" y="0"/>
            <a:chExt cx="4316" cy="4320"/>
          </a:xfrm>
        </p:grpSpPr>
        <p:sp>
          <p:nvSpPr>
            <p:cNvPr id="18" name="AutoShape 18">
              <a:extLst>
                <a:ext uri="{FF2B5EF4-FFF2-40B4-BE49-F238E27FC236}">
                  <a16:creationId xmlns:a16="http://schemas.microsoft.com/office/drawing/2014/main" id="{4FD74263-242F-4BE5-A534-61AB2ED3ABD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 name="Freeform 20">
              <a:extLst>
                <a:ext uri="{FF2B5EF4-FFF2-40B4-BE49-F238E27FC236}">
                  <a16:creationId xmlns:a16="http://schemas.microsoft.com/office/drawing/2014/main" id="{283504B8-0E0E-4C95-B754-6F017786A8B8}"/>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21">
              <a:extLst>
                <a:ext uri="{FF2B5EF4-FFF2-40B4-BE49-F238E27FC236}">
                  <a16:creationId xmlns:a16="http://schemas.microsoft.com/office/drawing/2014/main" id="{878AEE3B-F401-45B2-956B-F0E293BFAD69}"/>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E8F88DDC-7E16-4AB9-B1BA-56A8102F4A48}"/>
              </a:ext>
            </a:extLst>
          </p:cNvPr>
          <p:cNvGrpSpPr>
            <a:grpSpLocks noChangeAspect="1"/>
          </p:cNvGrpSpPr>
          <p:nvPr/>
        </p:nvGrpSpPr>
        <p:grpSpPr>
          <a:xfrm>
            <a:off x="5333754" y="1690020"/>
            <a:ext cx="1524492" cy="1524492"/>
            <a:chOff x="1983582" y="2081213"/>
            <a:chExt cx="1647825" cy="1647825"/>
          </a:xfrm>
        </p:grpSpPr>
        <p:sp>
          <p:nvSpPr>
            <p:cNvPr id="22" name="AutoShape 48">
              <a:extLst>
                <a:ext uri="{FF2B5EF4-FFF2-40B4-BE49-F238E27FC236}">
                  <a16:creationId xmlns:a16="http://schemas.microsoft.com/office/drawing/2014/main" id="{97E6AB41-2E95-4C1B-8F39-9E09DCB159D0}"/>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3" name="Group 22">
              <a:extLst>
                <a:ext uri="{FF2B5EF4-FFF2-40B4-BE49-F238E27FC236}">
                  <a16:creationId xmlns:a16="http://schemas.microsoft.com/office/drawing/2014/main" id="{196E698B-91C2-4816-99B9-DB77B7A67C43}"/>
                </a:ext>
              </a:extLst>
            </p:cNvPr>
            <p:cNvGrpSpPr/>
            <p:nvPr/>
          </p:nvGrpSpPr>
          <p:grpSpPr>
            <a:xfrm>
              <a:off x="2523672" y="2254814"/>
              <a:ext cx="567645" cy="1300624"/>
              <a:chOff x="2523672" y="2254814"/>
              <a:chExt cx="567645" cy="1300624"/>
            </a:xfrm>
          </p:grpSpPr>
          <p:sp>
            <p:nvSpPr>
              <p:cNvPr id="24" name="Freeform 50">
                <a:extLst>
                  <a:ext uri="{FF2B5EF4-FFF2-40B4-BE49-F238E27FC236}">
                    <a16:creationId xmlns:a16="http://schemas.microsoft.com/office/drawing/2014/main" id="{B730EBD9-55C3-415A-BF29-C311E7A7EE11}"/>
                  </a:ext>
                </a:extLst>
              </p:cNvPr>
              <p:cNvSpPr>
                <a:spLocks noEditPoints="1"/>
              </p:cNvSpPr>
              <p:nvPr/>
            </p:nvSpPr>
            <p:spPr bwMode="auto">
              <a:xfrm>
                <a:off x="2523672" y="2254814"/>
                <a:ext cx="567645" cy="1300624"/>
              </a:xfrm>
              <a:custGeom>
                <a:avLst/>
                <a:gdLst>
                  <a:gd name="T0" fmla="*/ 689 w 792"/>
                  <a:gd name="T1" fmla="*/ 0 h 1820"/>
                  <a:gd name="T2" fmla="*/ 103 w 792"/>
                  <a:gd name="T3" fmla="*/ 0 h 1820"/>
                  <a:gd name="T4" fmla="*/ 0 w 792"/>
                  <a:gd name="T5" fmla="*/ 103 h 1820"/>
                  <a:gd name="T6" fmla="*/ 103 w 792"/>
                  <a:gd name="T7" fmla="*/ 206 h 1820"/>
                  <a:gd name="T8" fmla="*/ 106 w 792"/>
                  <a:gd name="T9" fmla="*/ 206 h 1820"/>
                  <a:gd name="T10" fmla="*/ 106 w 792"/>
                  <a:gd name="T11" fmla="*/ 1529 h 1820"/>
                  <a:gd name="T12" fmla="*/ 396 w 792"/>
                  <a:gd name="T13" fmla="*/ 1820 h 1820"/>
                  <a:gd name="T14" fmla="*/ 686 w 792"/>
                  <a:gd name="T15" fmla="*/ 1529 h 1820"/>
                  <a:gd name="T16" fmla="*/ 686 w 792"/>
                  <a:gd name="T17" fmla="*/ 206 h 1820"/>
                  <a:gd name="T18" fmla="*/ 689 w 792"/>
                  <a:gd name="T19" fmla="*/ 206 h 1820"/>
                  <a:gd name="T20" fmla="*/ 792 w 792"/>
                  <a:gd name="T21" fmla="*/ 103 h 1820"/>
                  <a:gd name="T22" fmla="*/ 689 w 792"/>
                  <a:gd name="T23" fmla="*/ 0 h 1820"/>
                  <a:gd name="T24" fmla="*/ 689 w 792"/>
                  <a:gd name="T25" fmla="*/ 163 h 1820"/>
                  <a:gd name="T26" fmla="*/ 643 w 792"/>
                  <a:gd name="T27" fmla="*/ 163 h 1820"/>
                  <a:gd name="T28" fmla="*/ 643 w 792"/>
                  <a:gd name="T29" fmla="*/ 1529 h 1820"/>
                  <a:gd name="T30" fmla="*/ 396 w 792"/>
                  <a:gd name="T31" fmla="*/ 1776 h 1820"/>
                  <a:gd name="T32" fmla="*/ 396 w 792"/>
                  <a:gd name="T33" fmla="*/ 1776 h 1820"/>
                  <a:gd name="T34" fmla="*/ 149 w 792"/>
                  <a:gd name="T35" fmla="*/ 1529 h 1820"/>
                  <a:gd name="T36" fmla="*/ 149 w 792"/>
                  <a:gd name="T37" fmla="*/ 163 h 1820"/>
                  <a:gd name="T38" fmla="*/ 103 w 792"/>
                  <a:gd name="T39" fmla="*/ 163 h 1820"/>
                  <a:gd name="T40" fmla="*/ 44 w 792"/>
                  <a:gd name="T41" fmla="*/ 103 h 1820"/>
                  <a:gd name="T42" fmla="*/ 103 w 792"/>
                  <a:gd name="T43" fmla="*/ 44 h 1820"/>
                  <a:gd name="T44" fmla="*/ 689 w 792"/>
                  <a:gd name="T45" fmla="*/ 44 h 1820"/>
                  <a:gd name="T46" fmla="*/ 748 w 792"/>
                  <a:gd name="T47" fmla="*/ 103 h 1820"/>
                  <a:gd name="T48" fmla="*/ 689 w 792"/>
                  <a:gd name="T49" fmla="*/ 163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2" h="1820">
                    <a:moveTo>
                      <a:pt x="689" y="0"/>
                    </a:moveTo>
                    <a:cubicBezTo>
                      <a:pt x="103" y="0"/>
                      <a:pt x="103" y="0"/>
                      <a:pt x="103" y="0"/>
                    </a:cubicBezTo>
                    <a:cubicBezTo>
                      <a:pt x="47" y="0"/>
                      <a:pt x="0" y="47"/>
                      <a:pt x="0" y="103"/>
                    </a:cubicBezTo>
                    <a:cubicBezTo>
                      <a:pt x="0" y="161"/>
                      <a:pt x="47" y="206"/>
                      <a:pt x="103" y="206"/>
                    </a:cubicBezTo>
                    <a:cubicBezTo>
                      <a:pt x="106" y="206"/>
                      <a:pt x="106" y="206"/>
                      <a:pt x="106" y="206"/>
                    </a:cubicBezTo>
                    <a:cubicBezTo>
                      <a:pt x="106" y="1529"/>
                      <a:pt x="106" y="1529"/>
                      <a:pt x="106" y="1529"/>
                    </a:cubicBezTo>
                    <a:cubicBezTo>
                      <a:pt x="106" y="1689"/>
                      <a:pt x="236" y="1820"/>
                      <a:pt x="396" y="1820"/>
                    </a:cubicBezTo>
                    <a:cubicBezTo>
                      <a:pt x="556" y="1820"/>
                      <a:pt x="686" y="1689"/>
                      <a:pt x="686" y="1529"/>
                    </a:cubicBezTo>
                    <a:cubicBezTo>
                      <a:pt x="686" y="206"/>
                      <a:pt x="686" y="206"/>
                      <a:pt x="686" y="206"/>
                    </a:cubicBezTo>
                    <a:cubicBezTo>
                      <a:pt x="689" y="206"/>
                      <a:pt x="689" y="206"/>
                      <a:pt x="689" y="206"/>
                    </a:cubicBezTo>
                    <a:cubicBezTo>
                      <a:pt x="745" y="206"/>
                      <a:pt x="792" y="161"/>
                      <a:pt x="792" y="103"/>
                    </a:cubicBezTo>
                    <a:cubicBezTo>
                      <a:pt x="792" y="47"/>
                      <a:pt x="745" y="0"/>
                      <a:pt x="689" y="0"/>
                    </a:cubicBezTo>
                    <a:close/>
                    <a:moveTo>
                      <a:pt x="689" y="163"/>
                    </a:moveTo>
                    <a:cubicBezTo>
                      <a:pt x="643" y="163"/>
                      <a:pt x="643" y="163"/>
                      <a:pt x="643" y="163"/>
                    </a:cubicBezTo>
                    <a:cubicBezTo>
                      <a:pt x="643" y="1529"/>
                      <a:pt x="643" y="1529"/>
                      <a:pt x="643" y="1529"/>
                    </a:cubicBezTo>
                    <a:cubicBezTo>
                      <a:pt x="643" y="1665"/>
                      <a:pt x="533" y="1776"/>
                      <a:pt x="396" y="1776"/>
                    </a:cubicBezTo>
                    <a:cubicBezTo>
                      <a:pt x="396" y="1776"/>
                      <a:pt x="396" y="1776"/>
                      <a:pt x="396" y="1776"/>
                    </a:cubicBezTo>
                    <a:cubicBezTo>
                      <a:pt x="259" y="1776"/>
                      <a:pt x="149" y="1665"/>
                      <a:pt x="149" y="1529"/>
                    </a:cubicBezTo>
                    <a:cubicBezTo>
                      <a:pt x="149" y="163"/>
                      <a:pt x="149" y="163"/>
                      <a:pt x="149" y="163"/>
                    </a:cubicBezTo>
                    <a:cubicBezTo>
                      <a:pt x="103" y="163"/>
                      <a:pt x="103" y="163"/>
                      <a:pt x="103" y="163"/>
                    </a:cubicBezTo>
                    <a:cubicBezTo>
                      <a:pt x="70" y="163"/>
                      <a:pt x="44" y="136"/>
                      <a:pt x="44" y="103"/>
                    </a:cubicBezTo>
                    <a:cubicBezTo>
                      <a:pt x="44" y="70"/>
                      <a:pt x="70" y="44"/>
                      <a:pt x="103" y="44"/>
                    </a:cubicBezTo>
                    <a:cubicBezTo>
                      <a:pt x="689" y="44"/>
                      <a:pt x="689" y="44"/>
                      <a:pt x="689" y="44"/>
                    </a:cubicBezTo>
                    <a:cubicBezTo>
                      <a:pt x="722" y="44"/>
                      <a:pt x="748" y="70"/>
                      <a:pt x="748" y="103"/>
                    </a:cubicBezTo>
                    <a:cubicBezTo>
                      <a:pt x="748" y="136"/>
                      <a:pt x="722" y="163"/>
                      <a:pt x="689" y="163"/>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Freeform 51">
                <a:extLst>
                  <a:ext uri="{FF2B5EF4-FFF2-40B4-BE49-F238E27FC236}">
                    <a16:creationId xmlns:a16="http://schemas.microsoft.com/office/drawing/2014/main" id="{15045AA9-59CB-4351-8F92-4420F35DACE4}"/>
                  </a:ext>
                </a:extLst>
              </p:cNvPr>
              <p:cNvSpPr>
                <a:spLocks noEditPoints="1"/>
              </p:cNvSpPr>
              <p:nvPr/>
            </p:nvSpPr>
            <p:spPr bwMode="auto">
              <a:xfrm>
                <a:off x="2664206" y="2905126"/>
                <a:ext cx="286578" cy="589690"/>
              </a:xfrm>
              <a:custGeom>
                <a:avLst/>
                <a:gdLst>
                  <a:gd name="T0" fmla="*/ 0 w 404"/>
                  <a:gd name="T1" fmla="*/ 0 h 823"/>
                  <a:gd name="T2" fmla="*/ 0 w 404"/>
                  <a:gd name="T3" fmla="*/ 619 h 823"/>
                  <a:gd name="T4" fmla="*/ 202 w 404"/>
                  <a:gd name="T5" fmla="*/ 823 h 823"/>
                  <a:gd name="T6" fmla="*/ 404 w 404"/>
                  <a:gd name="T7" fmla="*/ 619 h 823"/>
                  <a:gd name="T8" fmla="*/ 404 w 404"/>
                  <a:gd name="T9" fmla="*/ 0 h 823"/>
                  <a:gd name="T10" fmla="*/ 0 w 404"/>
                  <a:gd name="T11" fmla="*/ 0 h 823"/>
                  <a:gd name="T12" fmla="*/ 0 w 404"/>
                  <a:gd name="T13" fmla="*/ 0 h 823"/>
                  <a:gd name="T14" fmla="*/ 292 w 404"/>
                  <a:gd name="T15" fmla="*/ 156 h 823"/>
                  <a:gd name="T16" fmla="*/ 323 w 404"/>
                  <a:gd name="T17" fmla="*/ 188 h 823"/>
                  <a:gd name="T18" fmla="*/ 292 w 404"/>
                  <a:gd name="T19" fmla="*/ 219 h 823"/>
                  <a:gd name="T20" fmla="*/ 260 w 404"/>
                  <a:gd name="T21" fmla="*/ 188 h 823"/>
                  <a:gd name="T22" fmla="*/ 292 w 404"/>
                  <a:gd name="T23" fmla="*/ 156 h 823"/>
                  <a:gd name="T24" fmla="*/ 134 w 404"/>
                  <a:gd name="T25" fmla="*/ 705 h 823"/>
                  <a:gd name="T26" fmla="*/ 64 w 404"/>
                  <a:gd name="T27" fmla="*/ 634 h 823"/>
                  <a:gd name="T28" fmla="*/ 134 w 404"/>
                  <a:gd name="T29" fmla="*/ 564 h 823"/>
                  <a:gd name="T30" fmla="*/ 204 w 404"/>
                  <a:gd name="T31" fmla="*/ 634 h 823"/>
                  <a:gd name="T32" fmla="*/ 134 w 404"/>
                  <a:gd name="T33" fmla="*/ 705 h 823"/>
                  <a:gd name="T34" fmla="*/ 181 w 404"/>
                  <a:gd name="T35" fmla="*/ 286 h 823"/>
                  <a:gd name="T36" fmla="*/ 221 w 404"/>
                  <a:gd name="T37" fmla="*/ 246 h 823"/>
                  <a:gd name="T38" fmla="*/ 260 w 404"/>
                  <a:gd name="T39" fmla="*/ 286 h 823"/>
                  <a:gd name="T40" fmla="*/ 221 w 404"/>
                  <a:gd name="T41" fmla="*/ 325 h 823"/>
                  <a:gd name="T42" fmla="*/ 181 w 404"/>
                  <a:gd name="T43" fmla="*/ 286 h 823"/>
                  <a:gd name="T44" fmla="*/ 304 w 404"/>
                  <a:gd name="T45" fmla="*/ 698 h 823"/>
                  <a:gd name="T46" fmla="*/ 270 w 404"/>
                  <a:gd name="T47" fmla="*/ 664 h 823"/>
                  <a:gd name="T48" fmla="*/ 304 w 404"/>
                  <a:gd name="T49" fmla="*/ 630 h 823"/>
                  <a:gd name="T50" fmla="*/ 337 w 404"/>
                  <a:gd name="T51" fmla="*/ 664 h 823"/>
                  <a:gd name="T52" fmla="*/ 304 w 404"/>
                  <a:gd name="T53" fmla="*/ 698 h 823"/>
                  <a:gd name="T54" fmla="*/ 287 w 404"/>
                  <a:gd name="T55" fmla="*/ 524 h 823"/>
                  <a:gd name="T56" fmla="*/ 232 w 404"/>
                  <a:gd name="T57" fmla="*/ 469 h 823"/>
                  <a:gd name="T58" fmla="*/ 287 w 404"/>
                  <a:gd name="T59" fmla="*/ 413 h 823"/>
                  <a:gd name="T60" fmla="*/ 342 w 404"/>
                  <a:gd name="T61" fmla="*/ 469 h 823"/>
                  <a:gd name="T62" fmla="*/ 287 w 404"/>
                  <a:gd name="T63" fmla="*/ 52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823">
                    <a:moveTo>
                      <a:pt x="0" y="0"/>
                    </a:moveTo>
                    <a:cubicBezTo>
                      <a:pt x="0" y="619"/>
                      <a:pt x="0" y="619"/>
                      <a:pt x="0" y="619"/>
                    </a:cubicBezTo>
                    <a:cubicBezTo>
                      <a:pt x="0" y="732"/>
                      <a:pt x="90" y="823"/>
                      <a:pt x="202" y="823"/>
                    </a:cubicBezTo>
                    <a:cubicBezTo>
                      <a:pt x="314" y="823"/>
                      <a:pt x="404" y="732"/>
                      <a:pt x="404" y="619"/>
                    </a:cubicBezTo>
                    <a:cubicBezTo>
                      <a:pt x="404" y="0"/>
                      <a:pt x="404" y="0"/>
                      <a:pt x="404" y="0"/>
                    </a:cubicBezTo>
                    <a:cubicBezTo>
                      <a:pt x="0" y="0"/>
                      <a:pt x="0" y="0"/>
                      <a:pt x="0" y="0"/>
                    </a:cubicBezTo>
                    <a:cubicBezTo>
                      <a:pt x="0" y="0"/>
                      <a:pt x="0" y="0"/>
                      <a:pt x="0" y="0"/>
                    </a:cubicBezTo>
                    <a:close/>
                    <a:moveTo>
                      <a:pt x="292" y="156"/>
                    </a:moveTo>
                    <a:cubicBezTo>
                      <a:pt x="310" y="156"/>
                      <a:pt x="323" y="170"/>
                      <a:pt x="323" y="188"/>
                    </a:cubicBezTo>
                    <a:cubicBezTo>
                      <a:pt x="323" y="205"/>
                      <a:pt x="310" y="219"/>
                      <a:pt x="292" y="219"/>
                    </a:cubicBezTo>
                    <a:cubicBezTo>
                      <a:pt x="274" y="219"/>
                      <a:pt x="260" y="205"/>
                      <a:pt x="260" y="188"/>
                    </a:cubicBezTo>
                    <a:cubicBezTo>
                      <a:pt x="260" y="170"/>
                      <a:pt x="274" y="156"/>
                      <a:pt x="292" y="156"/>
                    </a:cubicBezTo>
                    <a:close/>
                    <a:moveTo>
                      <a:pt x="134" y="705"/>
                    </a:moveTo>
                    <a:cubicBezTo>
                      <a:pt x="95" y="705"/>
                      <a:pt x="64" y="673"/>
                      <a:pt x="64" y="634"/>
                    </a:cubicBezTo>
                    <a:cubicBezTo>
                      <a:pt x="64" y="596"/>
                      <a:pt x="95" y="564"/>
                      <a:pt x="134" y="564"/>
                    </a:cubicBezTo>
                    <a:cubicBezTo>
                      <a:pt x="172" y="564"/>
                      <a:pt x="204" y="596"/>
                      <a:pt x="204" y="634"/>
                    </a:cubicBezTo>
                    <a:cubicBezTo>
                      <a:pt x="204" y="673"/>
                      <a:pt x="172" y="705"/>
                      <a:pt x="134" y="705"/>
                    </a:cubicBezTo>
                    <a:close/>
                    <a:moveTo>
                      <a:pt x="181" y="286"/>
                    </a:moveTo>
                    <a:cubicBezTo>
                      <a:pt x="181" y="264"/>
                      <a:pt x="199" y="246"/>
                      <a:pt x="221" y="246"/>
                    </a:cubicBezTo>
                    <a:cubicBezTo>
                      <a:pt x="242" y="246"/>
                      <a:pt x="260" y="264"/>
                      <a:pt x="260" y="286"/>
                    </a:cubicBezTo>
                    <a:cubicBezTo>
                      <a:pt x="260" y="308"/>
                      <a:pt x="242" y="325"/>
                      <a:pt x="221" y="325"/>
                    </a:cubicBezTo>
                    <a:cubicBezTo>
                      <a:pt x="199" y="325"/>
                      <a:pt x="181" y="308"/>
                      <a:pt x="181" y="286"/>
                    </a:cubicBezTo>
                    <a:close/>
                    <a:moveTo>
                      <a:pt x="304" y="698"/>
                    </a:moveTo>
                    <a:cubicBezTo>
                      <a:pt x="285" y="698"/>
                      <a:pt x="270" y="683"/>
                      <a:pt x="270" y="664"/>
                    </a:cubicBezTo>
                    <a:cubicBezTo>
                      <a:pt x="270" y="645"/>
                      <a:pt x="285" y="630"/>
                      <a:pt x="304" y="630"/>
                    </a:cubicBezTo>
                    <a:cubicBezTo>
                      <a:pt x="322" y="630"/>
                      <a:pt x="337" y="645"/>
                      <a:pt x="337" y="664"/>
                    </a:cubicBezTo>
                    <a:cubicBezTo>
                      <a:pt x="337" y="683"/>
                      <a:pt x="322" y="698"/>
                      <a:pt x="304" y="698"/>
                    </a:cubicBezTo>
                    <a:close/>
                    <a:moveTo>
                      <a:pt x="287" y="524"/>
                    </a:moveTo>
                    <a:cubicBezTo>
                      <a:pt x="256" y="524"/>
                      <a:pt x="232" y="499"/>
                      <a:pt x="232" y="469"/>
                    </a:cubicBezTo>
                    <a:cubicBezTo>
                      <a:pt x="232" y="438"/>
                      <a:pt x="256" y="413"/>
                      <a:pt x="287" y="413"/>
                    </a:cubicBezTo>
                    <a:cubicBezTo>
                      <a:pt x="317" y="413"/>
                      <a:pt x="342" y="438"/>
                      <a:pt x="342" y="469"/>
                    </a:cubicBezTo>
                    <a:cubicBezTo>
                      <a:pt x="342" y="499"/>
                      <a:pt x="317" y="524"/>
                      <a:pt x="287" y="524"/>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26" name="Group 25">
            <a:extLst>
              <a:ext uri="{FF2B5EF4-FFF2-40B4-BE49-F238E27FC236}">
                <a16:creationId xmlns:a16="http://schemas.microsoft.com/office/drawing/2014/main" id="{4A4A068E-75F9-47E4-94FB-506DFB150432}"/>
              </a:ext>
            </a:extLst>
          </p:cNvPr>
          <p:cNvGrpSpPr>
            <a:grpSpLocks noChangeAspect="1"/>
          </p:cNvGrpSpPr>
          <p:nvPr/>
        </p:nvGrpSpPr>
        <p:grpSpPr>
          <a:xfrm>
            <a:off x="9297693" y="1628003"/>
            <a:ext cx="1647825" cy="1647825"/>
            <a:chOff x="1983582" y="2081213"/>
            <a:chExt cx="1647825" cy="1647825"/>
          </a:xfrm>
        </p:grpSpPr>
        <p:sp>
          <p:nvSpPr>
            <p:cNvPr id="27" name="AutoShape 6">
              <a:extLst>
                <a:ext uri="{FF2B5EF4-FFF2-40B4-BE49-F238E27FC236}">
                  <a16:creationId xmlns:a16="http://schemas.microsoft.com/office/drawing/2014/main" id="{2AB024EB-B953-469D-A572-83FE19AFB1AE}"/>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28" name="Group 27">
              <a:extLst>
                <a:ext uri="{FF2B5EF4-FFF2-40B4-BE49-F238E27FC236}">
                  <a16:creationId xmlns:a16="http://schemas.microsoft.com/office/drawing/2014/main" id="{F1D53411-3FC9-40BF-BBE6-851CB644B705}"/>
                </a:ext>
              </a:extLst>
            </p:cNvPr>
            <p:cNvGrpSpPr/>
            <p:nvPr/>
          </p:nvGrpSpPr>
          <p:grpSpPr>
            <a:xfrm>
              <a:off x="2216945" y="2549526"/>
              <a:ext cx="1190625" cy="709612"/>
              <a:chOff x="2216945" y="2549526"/>
              <a:chExt cx="1190625" cy="709612"/>
            </a:xfrm>
          </p:grpSpPr>
          <p:sp>
            <p:nvSpPr>
              <p:cNvPr id="29" name="Freeform 8">
                <a:extLst>
                  <a:ext uri="{FF2B5EF4-FFF2-40B4-BE49-F238E27FC236}">
                    <a16:creationId xmlns:a16="http://schemas.microsoft.com/office/drawing/2014/main" id="{C08210F0-DB71-49EC-B626-070E493B4814}"/>
                  </a:ext>
                </a:extLst>
              </p:cNvPr>
              <p:cNvSpPr>
                <a:spLocks noEditPoints="1"/>
              </p:cNvSpPr>
              <p:nvPr/>
            </p:nvSpPr>
            <p:spPr bwMode="auto">
              <a:xfrm>
                <a:off x="2388395" y="2624138"/>
                <a:ext cx="847725" cy="635000"/>
              </a:xfrm>
              <a:custGeom>
                <a:avLst/>
                <a:gdLst>
                  <a:gd name="T0" fmla="*/ 594 w 1185"/>
                  <a:gd name="T1" fmla="*/ 0 h 888"/>
                  <a:gd name="T2" fmla="*/ 0 w 1185"/>
                  <a:gd name="T3" fmla="*/ 117 h 888"/>
                  <a:gd name="T4" fmla="*/ 0 w 1185"/>
                  <a:gd name="T5" fmla="*/ 201 h 888"/>
                  <a:gd name="T6" fmla="*/ 594 w 1185"/>
                  <a:gd name="T7" fmla="*/ 124 h 888"/>
                  <a:gd name="T8" fmla="*/ 1185 w 1185"/>
                  <a:gd name="T9" fmla="*/ 200 h 888"/>
                  <a:gd name="T10" fmla="*/ 1185 w 1185"/>
                  <a:gd name="T11" fmla="*/ 116 h 888"/>
                  <a:gd name="T12" fmla="*/ 594 w 1185"/>
                  <a:gd name="T13" fmla="*/ 0 h 888"/>
                  <a:gd name="T14" fmla="*/ 0 w 1185"/>
                  <a:gd name="T15" fmla="*/ 688 h 888"/>
                  <a:gd name="T16" fmla="*/ 0 w 1185"/>
                  <a:gd name="T17" fmla="*/ 772 h 888"/>
                  <a:gd name="T18" fmla="*/ 592 w 1185"/>
                  <a:gd name="T19" fmla="*/ 888 h 888"/>
                  <a:gd name="T20" fmla="*/ 1185 w 1185"/>
                  <a:gd name="T21" fmla="*/ 771 h 888"/>
                  <a:gd name="T22" fmla="*/ 1185 w 1185"/>
                  <a:gd name="T23" fmla="*/ 688 h 888"/>
                  <a:gd name="T24" fmla="*/ 592 w 1185"/>
                  <a:gd name="T25" fmla="*/ 764 h 888"/>
                  <a:gd name="T26" fmla="*/ 0 w 1185"/>
                  <a:gd name="T27" fmla="*/ 688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5" h="888">
                    <a:moveTo>
                      <a:pt x="594" y="0"/>
                    </a:moveTo>
                    <a:cubicBezTo>
                      <a:pt x="370" y="0"/>
                      <a:pt x="164" y="44"/>
                      <a:pt x="0" y="117"/>
                    </a:cubicBezTo>
                    <a:cubicBezTo>
                      <a:pt x="0" y="201"/>
                      <a:pt x="0" y="201"/>
                      <a:pt x="0" y="201"/>
                    </a:cubicBezTo>
                    <a:cubicBezTo>
                      <a:pt x="164" y="153"/>
                      <a:pt x="370" y="124"/>
                      <a:pt x="594" y="124"/>
                    </a:cubicBezTo>
                    <a:cubicBezTo>
                      <a:pt x="816" y="124"/>
                      <a:pt x="1022" y="153"/>
                      <a:pt x="1185" y="200"/>
                    </a:cubicBezTo>
                    <a:cubicBezTo>
                      <a:pt x="1185" y="116"/>
                      <a:pt x="1185" y="116"/>
                      <a:pt x="1185" y="116"/>
                    </a:cubicBezTo>
                    <a:cubicBezTo>
                      <a:pt x="1022" y="44"/>
                      <a:pt x="816" y="0"/>
                      <a:pt x="594" y="0"/>
                    </a:cubicBezTo>
                    <a:close/>
                    <a:moveTo>
                      <a:pt x="0" y="688"/>
                    </a:moveTo>
                    <a:cubicBezTo>
                      <a:pt x="0" y="772"/>
                      <a:pt x="0" y="772"/>
                      <a:pt x="0" y="772"/>
                    </a:cubicBezTo>
                    <a:cubicBezTo>
                      <a:pt x="163" y="844"/>
                      <a:pt x="369" y="888"/>
                      <a:pt x="592" y="888"/>
                    </a:cubicBezTo>
                    <a:cubicBezTo>
                      <a:pt x="815" y="888"/>
                      <a:pt x="1021" y="844"/>
                      <a:pt x="1185" y="771"/>
                    </a:cubicBezTo>
                    <a:cubicBezTo>
                      <a:pt x="1185" y="688"/>
                      <a:pt x="1185" y="688"/>
                      <a:pt x="1185" y="688"/>
                    </a:cubicBezTo>
                    <a:cubicBezTo>
                      <a:pt x="1021" y="735"/>
                      <a:pt x="815" y="764"/>
                      <a:pt x="592" y="764"/>
                    </a:cubicBezTo>
                    <a:cubicBezTo>
                      <a:pt x="369" y="764"/>
                      <a:pt x="163" y="735"/>
                      <a:pt x="0" y="688"/>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0" name="Freeform 9">
                <a:extLst>
                  <a:ext uri="{FF2B5EF4-FFF2-40B4-BE49-F238E27FC236}">
                    <a16:creationId xmlns:a16="http://schemas.microsoft.com/office/drawing/2014/main" id="{ECD7DBBB-0BB8-423C-89AE-5A983658AC7C}"/>
                  </a:ext>
                </a:extLst>
              </p:cNvPr>
              <p:cNvSpPr>
                <a:spLocks noEditPoints="1"/>
              </p:cNvSpPr>
              <p:nvPr/>
            </p:nvSpPr>
            <p:spPr bwMode="auto">
              <a:xfrm>
                <a:off x="2216945" y="2549526"/>
                <a:ext cx="1190625" cy="596900"/>
              </a:xfrm>
              <a:custGeom>
                <a:avLst/>
                <a:gdLst>
                  <a:gd name="T0" fmla="*/ 239 w 1665"/>
                  <a:gd name="T1" fmla="*/ 363 h 835"/>
                  <a:gd name="T2" fmla="*/ 239 w 1665"/>
                  <a:gd name="T3" fmla="*/ 422 h 835"/>
                  <a:gd name="T4" fmla="*/ 239 w 1665"/>
                  <a:gd name="T5" fmla="*/ 422 h 835"/>
                  <a:gd name="T6" fmla="*/ 239 w 1665"/>
                  <a:gd name="T7" fmla="*/ 671 h 835"/>
                  <a:gd name="T8" fmla="*/ 239 w 1665"/>
                  <a:gd name="T9" fmla="*/ 671 h 835"/>
                  <a:gd name="T10" fmla="*/ 239 w 1665"/>
                  <a:gd name="T11" fmla="*/ 732 h 835"/>
                  <a:gd name="T12" fmla="*/ 834 w 1665"/>
                  <a:gd name="T13" fmla="*/ 814 h 835"/>
                  <a:gd name="T14" fmla="*/ 1429 w 1665"/>
                  <a:gd name="T15" fmla="*/ 731 h 835"/>
                  <a:gd name="T16" fmla="*/ 1429 w 1665"/>
                  <a:gd name="T17" fmla="*/ 731 h 835"/>
                  <a:gd name="T18" fmla="*/ 1429 w 1665"/>
                  <a:gd name="T19" fmla="*/ 367 h 835"/>
                  <a:gd name="T20" fmla="*/ 1429 w 1665"/>
                  <a:gd name="T21" fmla="*/ 364 h 835"/>
                  <a:gd name="T22" fmla="*/ 834 w 1665"/>
                  <a:gd name="T23" fmla="*/ 280 h 835"/>
                  <a:gd name="T24" fmla="*/ 239 w 1665"/>
                  <a:gd name="T25" fmla="*/ 363 h 835"/>
                  <a:gd name="T26" fmla="*/ 1664 w 1665"/>
                  <a:gd name="T27" fmla="*/ 425 h 835"/>
                  <a:gd name="T28" fmla="*/ 1664 w 1665"/>
                  <a:gd name="T29" fmla="*/ 145 h 835"/>
                  <a:gd name="T30" fmla="*/ 1520 w 1665"/>
                  <a:gd name="T31" fmla="*/ 0 h 835"/>
                  <a:gd name="T32" fmla="*/ 1375 w 1665"/>
                  <a:gd name="T33" fmla="*/ 139 h 835"/>
                  <a:gd name="T34" fmla="*/ 1438 w 1665"/>
                  <a:gd name="T35" fmla="*/ 165 h 835"/>
                  <a:gd name="T36" fmla="*/ 1438 w 1665"/>
                  <a:gd name="T37" fmla="*/ 145 h 835"/>
                  <a:gd name="T38" fmla="*/ 1520 w 1665"/>
                  <a:gd name="T39" fmla="*/ 63 h 835"/>
                  <a:gd name="T40" fmla="*/ 1601 w 1665"/>
                  <a:gd name="T41" fmla="*/ 145 h 835"/>
                  <a:gd name="T42" fmla="*/ 1601 w 1665"/>
                  <a:gd name="T43" fmla="*/ 432 h 835"/>
                  <a:gd name="T44" fmla="*/ 1481 w 1665"/>
                  <a:gd name="T45" fmla="*/ 718 h 835"/>
                  <a:gd name="T46" fmla="*/ 1481 w 1665"/>
                  <a:gd name="T47" fmla="*/ 835 h 835"/>
                  <a:gd name="T48" fmla="*/ 1547 w 1665"/>
                  <a:gd name="T49" fmla="*/ 730 h 835"/>
                  <a:gd name="T50" fmla="*/ 1547 w 1665"/>
                  <a:gd name="T51" fmla="*/ 730 h 835"/>
                  <a:gd name="T52" fmla="*/ 1664 w 1665"/>
                  <a:gd name="T53" fmla="*/ 443 h 835"/>
                  <a:gd name="T54" fmla="*/ 1664 w 1665"/>
                  <a:gd name="T55" fmla="*/ 443 h 835"/>
                  <a:gd name="T56" fmla="*/ 1664 w 1665"/>
                  <a:gd name="T57" fmla="*/ 434 h 835"/>
                  <a:gd name="T58" fmla="*/ 1665 w 1665"/>
                  <a:gd name="T59" fmla="*/ 431 h 835"/>
                  <a:gd name="T60" fmla="*/ 1664 w 1665"/>
                  <a:gd name="T61" fmla="*/ 425 h 835"/>
                  <a:gd name="T62" fmla="*/ 291 w 1665"/>
                  <a:gd name="T63" fmla="*/ 139 h 835"/>
                  <a:gd name="T64" fmla="*/ 145 w 1665"/>
                  <a:gd name="T65" fmla="*/ 0 h 835"/>
                  <a:gd name="T66" fmla="*/ 1 w 1665"/>
                  <a:gd name="T67" fmla="*/ 145 h 835"/>
                  <a:gd name="T68" fmla="*/ 1 w 1665"/>
                  <a:gd name="T69" fmla="*/ 425 h 835"/>
                  <a:gd name="T70" fmla="*/ 0 w 1665"/>
                  <a:gd name="T71" fmla="*/ 431 h 835"/>
                  <a:gd name="T72" fmla="*/ 1 w 1665"/>
                  <a:gd name="T73" fmla="*/ 434 h 835"/>
                  <a:gd name="T74" fmla="*/ 1 w 1665"/>
                  <a:gd name="T75" fmla="*/ 443 h 835"/>
                  <a:gd name="T76" fmla="*/ 1 w 1665"/>
                  <a:gd name="T77" fmla="*/ 443 h 835"/>
                  <a:gd name="T78" fmla="*/ 118 w 1665"/>
                  <a:gd name="T79" fmla="*/ 730 h 835"/>
                  <a:gd name="T80" fmla="*/ 118 w 1665"/>
                  <a:gd name="T81" fmla="*/ 730 h 835"/>
                  <a:gd name="T82" fmla="*/ 184 w 1665"/>
                  <a:gd name="T83" fmla="*/ 835 h 835"/>
                  <a:gd name="T84" fmla="*/ 184 w 1665"/>
                  <a:gd name="T85" fmla="*/ 718 h 835"/>
                  <a:gd name="T86" fmla="*/ 64 w 1665"/>
                  <a:gd name="T87" fmla="*/ 432 h 835"/>
                  <a:gd name="T88" fmla="*/ 64 w 1665"/>
                  <a:gd name="T89" fmla="*/ 145 h 835"/>
                  <a:gd name="T90" fmla="*/ 145 w 1665"/>
                  <a:gd name="T91" fmla="*/ 63 h 835"/>
                  <a:gd name="T92" fmla="*/ 227 w 1665"/>
                  <a:gd name="T93" fmla="*/ 145 h 835"/>
                  <a:gd name="T94" fmla="*/ 227 w 1665"/>
                  <a:gd name="T95" fmla="*/ 165 h 835"/>
                  <a:gd name="T96" fmla="*/ 291 w 1665"/>
                  <a:gd name="T97" fmla="*/ 139 h 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65" h="835">
                    <a:moveTo>
                      <a:pt x="239" y="363"/>
                    </a:moveTo>
                    <a:cubicBezTo>
                      <a:pt x="239" y="422"/>
                      <a:pt x="239" y="422"/>
                      <a:pt x="239" y="422"/>
                    </a:cubicBezTo>
                    <a:cubicBezTo>
                      <a:pt x="239" y="422"/>
                      <a:pt x="239" y="422"/>
                      <a:pt x="239" y="422"/>
                    </a:cubicBezTo>
                    <a:cubicBezTo>
                      <a:pt x="239" y="671"/>
                      <a:pt x="239" y="671"/>
                      <a:pt x="239" y="671"/>
                    </a:cubicBezTo>
                    <a:cubicBezTo>
                      <a:pt x="239" y="671"/>
                      <a:pt x="239" y="671"/>
                      <a:pt x="239" y="671"/>
                    </a:cubicBezTo>
                    <a:cubicBezTo>
                      <a:pt x="239" y="732"/>
                      <a:pt x="239" y="732"/>
                      <a:pt x="239" y="732"/>
                    </a:cubicBezTo>
                    <a:cubicBezTo>
                      <a:pt x="403" y="783"/>
                      <a:pt x="609" y="814"/>
                      <a:pt x="834" y="814"/>
                    </a:cubicBezTo>
                    <a:cubicBezTo>
                      <a:pt x="1058" y="814"/>
                      <a:pt x="1266" y="783"/>
                      <a:pt x="1429" y="731"/>
                    </a:cubicBezTo>
                    <a:cubicBezTo>
                      <a:pt x="1429" y="731"/>
                      <a:pt x="1429" y="731"/>
                      <a:pt x="1429" y="731"/>
                    </a:cubicBezTo>
                    <a:cubicBezTo>
                      <a:pt x="1429" y="367"/>
                      <a:pt x="1429" y="367"/>
                      <a:pt x="1429" y="367"/>
                    </a:cubicBezTo>
                    <a:cubicBezTo>
                      <a:pt x="1429" y="364"/>
                      <a:pt x="1429" y="364"/>
                      <a:pt x="1429" y="364"/>
                    </a:cubicBezTo>
                    <a:cubicBezTo>
                      <a:pt x="1266" y="311"/>
                      <a:pt x="1058" y="280"/>
                      <a:pt x="834" y="280"/>
                    </a:cubicBezTo>
                    <a:cubicBezTo>
                      <a:pt x="609" y="280"/>
                      <a:pt x="403" y="311"/>
                      <a:pt x="239" y="363"/>
                    </a:cubicBezTo>
                    <a:close/>
                    <a:moveTo>
                      <a:pt x="1664" y="425"/>
                    </a:moveTo>
                    <a:cubicBezTo>
                      <a:pt x="1664" y="145"/>
                      <a:pt x="1664" y="145"/>
                      <a:pt x="1664" y="145"/>
                    </a:cubicBezTo>
                    <a:cubicBezTo>
                      <a:pt x="1664" y="65"/>
                      <a:pt x="1599" y="0"/>
                      <a:pt x="1520" y="0"/>
                    </a:cubicBezTo>
                    <a:cubicBezTo>
                      <a:pt x="1441" y="0"/>
                      <a:pt x="1378" y="63"/>
                      <a:pt x="1375" y="139"/>
                    </a:cubicBezTo>
                    <a:cubicBezTo>
                      <a:pt x="1397" y="147"/>
                      <a:pt x="1418" y="156"/>
                      <a:pt x="1438" y="165"/>
                    </a:cubicBezTo>
                    <a:cubicBezTo>
                      <a:pt x="1438" y="145"/>
                      <a:pt x="1438" y="145"/>
                      <a:pt x="1438" y="145"/>
                    </a:cubicBezTo>
                    <a:cubicBezTo>
                      <a:pt x="1438" y="99"/>
                      <a:pt x="1474" y="63"/>
                      <a:pt x="1520" y="63"/>
                    </a:cubicBezTo>
                    <a:cubicBezTo>
                      <a:pt x="1565" y="63"/>
                      <a:pt x="1601" y="99"/>
                      <a:pt x="1601" y="145"/>
                    </a:cubicBezTo>
                    <a:cubicBezTo>
                      <a:pt x="1601" y="432"/>
                      <a:pt x="1601" y="432"/>
                      <a:pt x="1601" y="432"/>
                    </a:cubicBezTo>
                    <a:cubicBezTo>
                      <a:pt x="1593" y="529"/>
                      <a:pt x="1481" y="718"/>
                      <a:pt x="1481" y="718"/>
                    </a:cubicBezTo>
                    <a:cubicBezTo>
                      <a:pt x="1481" y="835"/>
                      <a:pt x="1481" y="835"/>
                      <a:pt x="1481" y="835"/>
                    </a:cubicBezTo>
                    <a:cubicBezTo>
                      <a:pt x="1500" y="805"/>
                      <a:pt x="1536" y="747"/>
                      <a:pt x="1547" y="730"/>
                    </a:cubicBezTo>
                    <a:cubicBezTo>
                      <a:pt x="1547" y="730"/>
                      <a:pt x="1547" y="730"/>
                      <a:pt x="1547" y="730"/>
                    </a:cubicBezTo>
                    <a:cubicBezTo>
                      <a:pt x="1587" y="661"/>
                      <a:pt x="1653" y="542"/>
                      <a:pt x="1664" y="443"/>
                    </a:cubicBezTo>
                    <a:cubicBezTo>
                      <a:pt x="1664" y="443"/>
                      <a:pt x="1664" y="443"/>
                      <a:pt x="1664" y="443"/>
                    </a:cubicBezTo>
                    <a:cubicBezTo>
                      <a:pt x="1664" y="434"/>
                      <a:pt x="1664" y="434"/>
                      <a:pt x="1664" y="434"/>
                    </a:cubicBezTo>
                    <a:cubicBezTo>
                      <a:pt x="1664" y="433"/>
                      <a:pt x="1665" y="432"/>
                      <a:pt x="1665" y="431"/>
                    </a:cubicBezTo>
                    <a:cubicBezTo>
                      <a:pt x="1665" y="429"/>
                      <a:pt x="1665" y="427"/>
                      <a:pt x="1664" y="425"/>
                    </a:cubicBezTo>
                    <a:close/>
                    <a:moveTo>
                      <a:pt x="291" y="139"/>
                    </a:moveTo>
                    <a:cubicBezTo>
                      <a:pt x="288" y="63"/>
                      <a:pt x="224" y="0"/>
                      <a:pt x="145" y="0"/>
                    </a:cubicBezTo>
                    <a:cubicBezTo>
                      <a:pt x="66" y="0"/>
                      <a:pt x="1" y="65"/>
                      <a:pt x="1" y="145"/>
                    </a:cubicBezTo>
                    <a:cubicBezTo>
                      <a:pt x="1" y="425"/>
                      <a:pt x="1" y="425"/>
                      <a:pt x="1" y="425"/>
                    </a:cubicBezTo>
                    <a:cubicBezTo>
                      <a:pt x="0" y="427"/>
                      <a:pt x="0" y="429"/>
                      <a:pt x="0" y="431"/>
                    </a:cubicBezTo>
                    <a:cubicBezTo>
                      <a:pt x="0" y="432"/>
                      <a:pt x="1" y="433"/>
                      <a:pt x="1" y="434"/>
                    </a:cubicBezTo>
                    <a:cubicBezTo>
                      <a:pt x="1" y="443"/>
                      <a:pt x="1" y="443"/>
                      <a:pt x="1" y="443"/>
                    </a:cubicBezTo>
                    <a:cubicBezTo>
                      <a:pt x="1" y="443"/>
                      <a:pt x="1" y="443"/>
                      <a:pt x="1" y="443"/>
                    </a:cubicBezTo>
                    <a:cubicBezTo>
                      <a:pt x="12" y="542"/>
                      <a:pt x="78" y="661"/>
                      <a:pt x="118" y="730"/>
                    </a:cubicBezTo>
                    <a:cubicBezTo>
                      <a:pt x="118" y="730"/>
                      <a:pt x="118" y="730"/>
                      <a:pt x="118" y="730"/>
                    </a:cubicBezTo>
                    <a:cubicBezTo>
                      <a:pt x="129" y="747"/>
                      <a:pt x="165" y="805"/>
                      <a:pt x="184" y="835"/>
                    </a:cubicBezTo>
                    <a:cubicBezTo>
                      <a:pt x="184" y="718"/>
                      <a:pt x="184" y="718"/>
                      <a:pt x="184" y="718"/>
                    </a:cubicBezTo>
                    <a:cubicBezTo>
                      <a:pt x="184" y="718"/>
                      <a:pt x="72" y="529"/>
                      <a:pt x="64" y="432"/>
                    </a:cubicBezTo>
                    <a:cubicBezTo>
                      <a:pt x="64" y="145"/>
                      <a:pt x="64" y="145"/>
                      <a:pt x="64" y="145"/>
                    </a:cubicBezTo>
                    <a:cubicBezTo>
                      <a:pt x="64" y="99"/>
                      <a:pt x="100" y="63"/>
                      <a:pt x="145" y="63"/>
                    </a:cubicBezTo>
                    <a:cubicBezTo>
                      <a:pt x="191" y="63"/>
                      <a:pt x="227" y="99"/>
                      <a:pt x="227" y="145"/>
                    </a:cubicBezTo>
                    <a:cubicBezTo>
                      <a:pt x="227" y="165"/>
                      <a:pt x="227" y="165"/>
                      <a:pt x="227" y="165"/>
                    </a:cubicBezTo>
                    <a:cubicBezTo>
                      <a:pt x="248" y="156"/>
                      <a:pt x="269" y="147"/>
                      <a:pt x="291" y="139"/>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1" name="Rectangle 30">
            <a:extLst>
              <a:ext uri="{FF2B5EF4-FFF2-40B4-BE49-F238E27FC236}">
                <a16:creationId xmlns:a16="http://schemas.microsoft.com/office/drawing/2014/main" id="{A5656A49-87BD-4652-B3E1-E3BBB2793A16}"/>
              </a:ext>
            </a:extLst>
          </p:cNvPr>
          <p:cNvSpPr/>
          <p:nvPr/>
        </p:nvSpPr>
        <p:spPr>
          <a:xfrm>
            <a:off x="628650" y="3586200"/>
            <a:ext cx="2908580" cy="38779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51934"/>
                </a:solidFill>
                <a:effectLst/>
                <a:uLnTx/>
                <a:uFillTx/>
                <a:latin typeface="Calibri"/>
                <a:ea typeface="+mn-ea"/>
                <a:cs typeface="+mn-cs"/>
              </a:rPr>
              <a:t>Vaccination</a:t>
            </a:r>
          </a:p>
        </p:txBody>
      </p:sp>
      <p:sp>
        <p:nvSpPr>
          <p:cNvPr id="32" name="Rectangle 31">
            <a:extLst>
              <a:ext uri="{FF2B5EF4-FFF2-40B4-BE49-F238E27FC236}">
                <a16:creationId xmlns:a16="http://schemas.microsoft.com/office/drawing/2014/main" id="{C8C36689-87CF-485D-93B6-C758D5EF8653}"/>
              </a:ext>
            </a:extLst>
          </p:cNvPr>
          <p:cNvSpPr/>
          <p:nvPr/>
        </p:nvSpPr>
        <p:spPr>
          <a:xfrm>
            <a:off x="4641710" y="3586200"/>
            <a:ext cx="2908580" cy="38779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51934"/>
                </a:solidFill>
                <a:effectLst/>
                <a:uLnTx/>
                <a:uFillTx/>
                <a:latin typeface="Calibri"/>
                <a:ea typeface="+mn-ea"/>
                <a:cs typeface="+mn-cs"/>
              </a:rPr>
              <a:t>Testing</a:t>
            </a:r>
          </a:p>
        </p:txBody>
      </p:sp>
      <p:sp>
        <p:nvSpPr>
          <p:cNvPr id="33" name="Rectangle 32">
            <a:extLst>
              <a:ext uri="{FF2B5EF4-FFF2-40B4-BE49-F238E27FC236}">
                <a16:creationId xmlns:a16="http://schemas.microsoft.com/office/drawing/2014/main" id="{D3521C26-72CF-47D2-BB72-65E214605591}"/>
              </a:ext>
            </a:extLst>
          </p:cNvPr>
          <p:cNvSpPr/>
          <p:nvPr/>
        </p:nvSpPr>
        <p:spPr>
          <a:xfrm>
            <a:off x="8654770" y="3586200"/>
            <a:ext cx="2908580" cy="387798"/>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51934"/>
                </a:solidFill>
                <a:effectLst/>
                <a:uLnTx/>
                <a:uFillTx/>
                <a:latin typeface="Calibri"/>
                <a:ea typeface="+mn-ea"/>
                <a:cs typeface="+mn-cs"/>
              </a:rPr>
              <a:t>Masking</a:t>
            </a:r>
          </a:p>
        </p:txBody>
      </p:sp>
      <p:sp>
        <p:nvSpPr>
          <p:cNvPr id="35" name="Rectangle 34">
            <a:extLst>
              <a:ext uri="{FF2B5EF4-FFF2-40B4-BE49-F238E27FC236}">
                <a16:creationId xmlns:a16="http://schemas.microsoft.com/office/drawing/2014/main" id="{7300FA32-4162-448F-B952-46FD93117DED}"/>
              </a:ext>
            </a:extLst>
          </p:cNvPr>
          <p:cNvSpPr/>
          <p:nvPr/>
        </p:nvSpPr>
        <p:spPr>
          <a:xfrm>
            <a:off x="628650" y="4143367"/>
            <a:ext cx="2908580" cy="110802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1934"/>
                </a:solidFill>
                <a:effectLst/>
                <a:uLnTx/>
                <a:uFillTx/>
                <a:latin typeface="Calibri"/>
                <a:ea typeface="+mn-ea"/>
                <a:cs typeface="+mn-cs"/>
              </a:rPr>
              <a:t>Reduces risk of infection among eligible youth; reduces risk of exposure for ineligible or otherwise unvaccinated yout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51934"/>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4AD048F7-2D75-455F-9A67-2201FD54D71F}"/>
              </a:ext>
            </a:extLst>
          </p:cNvPr>
          <p:cNvSpPr/>
          <p:nvPr/>
        </p:nvSpPr>
        <p:spPr>
          <a:xfrm>
            <a:off x="4641710" y="4143366"/>
            <a:ext cx="2908580" cy="110410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1934"/>
                </a:solidFill>
                <a:effectLst/>
                <a:uLnTx/>
                <a:uFillTx/>
                <a:latin typeface="Calibri" panose="020F0502020204030204" pitchFamily="34" charset="0"/>
                <a:ea typeface="Calibri" panose="020F0502020204030204" pitchFamily="34" charset="0"/>
                <a:cs typeface="Mangal" panose="02040503050203030202" pitchFamily="18" charset="0"/>
              </a:rPr>
              <a:t>Coupled with contact tracing, helps schools stay open through early identification of cases and mitigation of potential outbreaks</a:t>
            </a:r>
            <a:endParaRPr kumimoji="0" lang="en-US" sz="1600" b="0" i="0" u="none" strike="noStrike" kern="1200" cap="none" spc="0" normalizeH="0" baseline="0" noProof="0" dirty="0">
              <a:ln>
                <a:noFill/>
              </a:ln>
              <a:solidFill>
                <a:srgbClr val="051934"/>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64F24B58-D40B-4B6F-82C8-1DD3883CACF0}"/>
              </a:ext>
            </a:extLst>
          </p:cNvPr>
          <p:cNvSpPr/>
          <p:nvPr/>
        </p:nvSpPr>
        <p:spPr>
          <a:xfrm>
            <a:off x="8654770" y="4143366"/>
            <a:ext cx="2908580" cy="110802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51934"/>
                </a:solidFill>
                <a:effectLst/>
                <a:uLnTx/>
                <a:uFillTx/>
                <a:latin typeface="Calibri"/>
                <a:ea typeface="+mn-ea"/>
                <a:cs typeface="+mn-cs"/>
              </a:rPr>
              <a:t>Reduces chance of transmission among vaccinated and unvaccinated students, mitigating risk of outbreaks</a:t>
            </a:r>
          </a:p>
        </p:txBody>
      </p:sp>
      <p:grpSp>
        <p:nvGrpSpPr>
          <p:cNvPr id="38" name="Group 37">
            <a:extLst>
              <a:ext uri="{FF2B5EF4-FFF2-40B4-BE49-F238E27FC236}">
                <a16:creationId xmlns:a16="http://schemas.microsoft.com/office/drawing/2014/main" id="{4AC7DA2A-8599-44F1-AC09-14BCAF9579FA}"/>
              </a:ext>
            </a:extLst>
          </p:cNvPr>
          <p:cNvGrpSpPr>
            <a:grpSpLocks noChangeAspect="1"/>
          </p:cNvGrpSpPr>
          <p:nvPr/>
        </p:nvGrpSpPr>
        <p:grpSpPr>
          <a:xfrm>
            <a:off x="3953201" y="3626644"/>
            <a:ext cx="306910" cy="306910"/>
            <a:chOff x="628650" y="1443038"/>
            <a:chExt cx="269875" cy="269875"/>
          </a:xfrm>
        </p:grpSpPr>
        <p:sp>
          <p:nvSpPr>
            <p:cNvPr id="39" name="Oval 38">
              <a:extLst>
                <a:ext uri="{FF2B5EF4-FFF2-40B4-BE49-F238E27FC236}">
                  <a16:creationId xmlns:a16="http://schemas.microsoft.com/office/drawing/2014/main" id="{6BDF5B9A-4BF2-48DC-A198-4F737E291254}"/>
                </a:ext>
              </a:extLst>
            </p:cNvPr>
            <p:cNvSpPr>
              <a:spLocks noChangeArrowheads="1"/>
            </p:cNvSpPr>
            <p:nvPr/>
          </p:nvSpPr>
          <p:spPr bwMode="auto">
            <a:xfrm>
              <a:off x="628650" y="1443038"/>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0" name="Freeform 7">
              <a:extLst>
                <a:ext uri="{FF2B5EF4-FFF2-40B4-BE49-F238E27FC236}">
                  <a16:creationId xmlns:a16="http://schemas.microsoft.com/office/drawing/2014/main" id="{3AC9BBC3-3F00-4371-9279-996B597D4485}"/>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41" name="Group 40">
            <a:extLst>
              <a:ext uri="{FF2B5EF4-FFF2-40B4-BE49-F238E27FC236}">
                <a16:creationId xmlns:a16="http://schemas.microsoft.com/office/drawing/2014/main" id="{E238B89A-0CCA-4F28-9426-56DF024D784A}"/>
              </a:ext>
            </a:extLst>
          </p:cNvPr>
          <p:cNvGrpSpPr>
            <a:grpSpLocks noChangeAspect="1"/>
          </p:cNvGrpSpPr>
          <p:nvPr/>
        </p:nvGrpSpPr>
        <p:grpSpPr>
          <a:xfrm>
            <a:off x="7928152" y="3626643"/>
            <a:ext cx="306910" cy="306910"/>
            <a:chOff x="628650" y="1443038"/>
            <a:chExt cx="269875" cy="269875"/>
          </a:xfrm>
        </p:grpSpPr>
        <p:sp>
          <p:nvSpPr>
            <p:cNvPr id="42" name="Oval 41">
              <a:extLst>
                <a:ext uri="{FF2B5EF4-FFF2-40B4-BE49-F238E27FC236}">
                  <a16:creationId xmlns:a16="http://schemas.microsoft.com/office/drawing/2014/main" id="{4967AE9F-D32E-406C-B857-2B8302F04EE8}"/>
                </a:ext>
              </a:extLst>
            </p:cNvPr>
            <p:cNvSpPr>
              <a:spLocks noChangeArrowheads="1"/>
            </p:cNvSpPr>
            <p:nvPr/>
          </p:nvSpPr>
          <p:spPr bwMode="auto">
            <a:xfrm>
              <a:off x="628650" y="1443038"/>
              <a:ext cx="269875" cy="269875"/>
            </a:xfrm>
            <a:prstGeom prst="ellipse">
              <a:avLst/>
            </a:prstGeom>
            <a:solidFill>
              <a:srgbClr val="051934">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3" name="Freeform 7">
              <a:extLst>
                <a:ext uri="{FF2B5EF4-FFF2-40B4-BE49-F238E27FC236}">
                  <a16:creationId xmlns:a16="http://schemas.microsoft.com/office/drawing/2014/main" id="{1C5C953B-FBD6-4C77-A0A5-A4FEA17FE3FA}"/>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4" name="Speech Bubble: Rectangle 3">
            <a:extLst>
              <a:ext uri="{FF2B5EF4-FFF2-40B4-BE49-F238E27FC236}">
                <a16:creationId xmlns:a16="http://schemas.microsoft.com/office/drawing/2014/main" id="{0F879743-FD62-4485-9419-AEE885A994A1}"/>
              </a:ext>
            </a:extLst>
          </p:cNvPr>
          <p:cNvSpPr/>
          <p:nvPr/>
        </p:nvSpPr>
        <p:spPr>
          <a:xfrm>
            <a:off x="1227179" y="5412768"/>
            <a:ext cx="3728643" cy="1155882"/>
          </a:xfrm>
          <a:prstGeom prst="wedgeRectCallout">
            <a:avLst>
              <a:gd name="adj1" fmla="val -34392"/>
              <a:gd name="adj2" fmla="val -68953"/>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B7EED"/>
                </a:solidFill>
                <a:effectLst/>
                <a:uLnTx/>
                <a:uFillTx/>
                <a:latin typeface="Calibri"/>
                <a:ea typeface="+mn-ea"/>
                <a:cs typeface="+mn-cs"/>
              </a:rPr>
              <a:t>Note: </a:t>
            </a:r>
            <a:r>
              <a:rPr kumimoji="0" lang="en-US" sz="1400" b="0" i="0" u="none" strike="noStrike" kern="1200" cap="none" spc="0" normalizeH="0" baseline="0" noProof="0" dirty="0">
                <a:ln>
                  <a:noFill/>
                </a:ln>
                <a:solidFill>
                  <a:srgbClr val="000000"/>
                </a:solidFill>
                <a:effectLst/>
                <a:uLnTx/>
                <a:uFillTx/>
                <a:latin typeface="Calibri"/>
                <a:ea typeface="+mn-ea"/>
                <a:cs typeface="+mn-cs"/>
              </a:rPr>
              <a:t>The FDA has granted emergency use authorization for the Pfizer-BioNTech vaccine for those 12-15 years of age. The Pfizer vaccine has </a:t>
            </a:r>
            <a:r>
              <a:rPr kumimoji="0" lang="en-US" sz="1400" b="1" i="0" u="none" strike="noStrike" kern="1200" cap="none" spc="0" normalizeH="0" baseline="0" noProof="0" dirty="0">
                <a:ln>
                  <a:noFill/>
                </a:ln>
                <a:solidFill>
                  <a:srgbClr val="000000"/>
                </a:solidFill>
                <a:effectLst/>
                <a:uLnTx/>
                <a:uFillTx/>
                <a:latin typeface="Calibri"/>
                <a:ea typeface="+mn-ea"/>
                <a:cs typeface="+mn-cs"/>
              </a:rPr>
              <a:t>full FDA approval </a:t>
            </a:r>
            <a:r>
              <a:rPr kumimoji="0" lang="en-US" sz="1400" b="0" i="0" u="none" strike="noStrike" kern="1200" cap="none" spc="0" normalizeH="0" baseline="0" noProof="0" dirty="0">
                <a:ln>
                  <a:noFill/>
                </a:ln>
                <a:solidFill>
                  <a:srgbClr val="000000"/>
                </a:solidFill>
                <a:effectLst/>
                <a:uLnTx/>
                <a:uFillTx/>
                <a:latin typeface="Calibri"/>
                <a:ea typeface="+mn-ea"/>
                <a:cs typeface="+mn-cs"/>
              </a:rPr>
              <a:t>for those 16 years of age and older. </a:t>
            </a:r>
          </a:p>
        </p:txBody>
      </p:sp>
    </p:spTree>
    <p:extLst>
      <p:ext uri="{BB962C8B-B14F-4D97-AF65-F5344CB8AC3E}">
        <p14:creationId xmlns:p14="http://schemas.microsoft.com/office/powerpoint/2010/main" val="105169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92BDEB-2C88-4EC7-B645-83EEB06DA5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555"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7692BDEB-2C88-4EC7-B645-83EEB06DA5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E37A79-4C3C-4314-B881-B689C1D85348}"/>
              </a:ext>
            </a:extLst>
          </p:cNvPr>
          <p:cNvSpPr>
            <a:spLocks noGrp="1"/>
          </p:cNvSpPr>
          <p:nvPr>
            <p:ph type="title"/>
          </p:nvPr>
        </p:nvSpPr>
        <p:spPr/>
        <p:txBody>
          <a:bodyPr vert="horz"/>
          <a:lstStyle/>
          <a:p>
            <a:r>
              <a:rPr lang="en-US" dirty="0">
                <a:solidFill>
                  <a:srgbClr val="EDAE1D"/>
                </a:solidFill>
              </a:rPr>
              <a:t>Vaccination |</a:t>
            </a:r>
            <a:r>
              <a:rPr lang="en-US" dirty="0"/>
              <a:t> Youth vaccination rates by County</a:t>
            </a:r>
          </a:p>
        </p:txBody>
      </p:sp>
      <p:sp>
        <p:nvSpPr>
          <p:cNvPr id="6" name="NavigationTriangle">
            <a:extLst>
              <a:ext uri="{FF2B5EF4-FFF2-40B4-BE49-F238E27FC236}">
                <a16:creationId xmlns:a16="http://schemas.microsoft.com/office/drawing/2014/main" id="{B709873C-FA38-4594-B383-5CDE37B06416}"/>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7" name="Oval 6">
            <a:extLst>
              <a:ext uri="{FF2B5EF4-FFF2-40B4-BE49-F238E27FC236}">
                <a16:creationId xmlns:a16="http://schemas.microsoft.com/office/drawing/2014/main" id="{7854EDF5-103A-4BE8-AAB8-ACF4C2DC9D3E}"/>
              </a:ext>
            </a:extLst>
          </p:cNvPr>
          <p:cNvSpPr/>
          <p:nvPr/>
        </p:nvSpPr>
        <p:spPr>
          <a:xfrm>
            <a:off x="11410390" y="217715"/>
            <a:ext cx="465935" cy="465935"/>
          </a:xfrm>
          <a:prstGeom prst="ellipse">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nvGrpSpPr>
          <p:cNvPr id="8" name="bcgIcons_Syringe">
            <a:extLst>
              <a:ext uri="{FF2B5EF4-FFF2-40B4-BE49-F238E27FC236}">
                <a16:creationId xmlns:a16="http://schemas.microsoft.com/office/drawing/2014/main" id="{A551AC59-E8AE-43C0-97DF-5D02592034DB}"/>
              </a:ext>
            </a:extLst>
          </p:cNvPr>
          <p:cNvGrpSpPr>
            <a:grpSpLocks noChangeAspect="1"/>
          </p:cNvGrpSpPr>
          <p:nvPr/>
        </p:nvGrpSpPr>
        <p:grpSpPr bwMode="auto">
          <a:xfrm>
            <a:off x="11481640" y="288816"/>
            <a:ext cx="323433" cy="323732"/>
            <a:chOff x="1682" y="0"/>
            <a:chExt cx="4316" cy="4320"/>
          </a:xfrm>
        </p:grpSpPr>
        <p:sp>
          <p:nvSpPr>
            <p:cNvPr id="9" name="AutoShape 18">
              <a:extLst>
                <a:ext uri="{FF2B5EF4-FFF2-40B4-BE49-F238E27FC236}">
                  <a16:creationId xmlns:a16="http://schemas.microsoft.com/office/drawing/2014/main" id="{3EB4A249-D48C-4ADC-851C-5831BA7F6EBB}"/>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Freeform 20">
              <a:extLst>
                <a:ext uri="{FF2B5EF4-FFF2-40B4-BE49-F238E27FC236}">
                  <a16:creationId xmlns:a16="http://schemas.microsoft.com/office/drawing/2014/main" id="{2916C053-1ED0-4966-AC59-5E0173AC4902}"/>
                </a:ext>
              </a:extLst>
            </p:cNvPr>
            <p:cNvSpPr>
              <a:spLocks noEditPoints="1"/>
            </p:cNvSpPr>
            <p:nvPr/>
          </p:nvSpPr>
          <p:spPr bwMode="auto">
            <a:xfrm>
              <a:off x="2126" y="501"/>
              <a:ext cx="3377" cy="3371"/>
            </a:xfrm>
            <a:custGeom>
              <a:avLst/>
              <a:gdLst>
                <a:gd name="T0" fmla="*/ 1470 w 1803"/>
                <a:gd name="T1" fmla="*/ 833 h 1798"/>
                <a:gd name="T2" fmla="*/ 1438 w 1803"/>
                <a:gd name="T3" fmla="*/ 833 h 1798"/>
                <a:gd name="T4" fmla="*/ 972 w 1803"/>
                <a:gd name="T5" fmla="*/ 335 h 1798"/>
                <a:gd name="T6" fmla="*/ 1470 w 1803"/>
                <a:gd name="T7" fmla="*/ 802 h 1798"/>
                <a:gd name="T8" fmla="*/ 730 w 1803"/>
                <a:gd name="T9" fmla="*/ 1353 h 1798"/>
                <a:gd name="T10" fmla="*/ 462 w 1803"/>
                <a:gd name="T11" fmla="*/ 1107 h 1798"/>
                <a:gd name="T12" fmla="*/ 1019 w 1803"/>
                <a:gd name="T13" fmla="*/ 476 h 1798"/>
                <a:gd name="T14" fmla="*/ 431 w 1803"/>
                <a:gd name="T15" fmla="*/ 1002 h 1798"/>
                <a:gd name="T16" fmla="*/ 662 w 1803"/>
                <a:gd name="T17" fmla="*/ 1369 h 1798"/>
                <a:gd name="T18" fmla="*/ 798 w 1803"/>
                <a:gd name="T19" fmla="*/ 1369 h 1798"/>
                <a:gd name="T20" fmla="*/ 1324 w 1803"/>
                <a:gd name="T21" fmla="*/ 781 h 1798"/>
                <a:gd name="T22" fmla="*/ 1794 w 1803"/>
                <a:gd name="T23" fmla="*/ 386 h 1798"/>
                <a:gd name="T24" fmla="*/ 1385 w 1803"/>
                <a:gd name="T25" fmla="*/ 8 h 1798"/>
                <a:gd name="T26" fmla="*/ 1763 w 1803"/>
                <a:gd name="T27" fmla="*/ 417 h 1798"/>
                <a:gd name="T28" fmla="*/ 1794 w 1803"/>
                <a:gd name="T29" fmla="*/ 417 h 1798"/>
                <a:gd name="T30" fmla="*/ 479 w 1803"/>
                <a:gd name="T31" fmla="*/ 1400 h 1798"/>
                <a:gd name="T32" fmla="*/ 474 w 1803"/>
                <a:gd name="T33" fmla="*/ 1400 h 1798"/>
                <a:gd name="T34" fmla="*/ 399 w 1803"/>
                <a:gd name="T35" fmla="*/ 1324 h 1798"/>
                <a:gd name="T36" fmla="*/ 472 w 1803"/>
                <a:gd name="T37" fmla="*/ 1249 h 1798"/>
                <a:gd name="T38" fmla="*/ 369 w 1803"/>
                <a:gd name="T39" fmla="*/ 1290 h 1798"/>
                <a:gd name="T40" fmla="*/ 443 w 1803"/>
                <a:gd name="T41" fmla="*/ 1431 h 1798"/>
                <a:gd name="T42" fmla="*/ 510 w 1803"/>
                <a:gd name="T43" fmla="*/ 1431 h 1798"/>
                <a:gd name="T44" fmla="*/ 551 w 1803"/>
                <a:gd name="T45" fmla="*/ 1328 h 1798"/>
                <a:gd name="T46" fmla="*/ 8 w 1803"/>
                <a:gd name="T47" fmla="*/ 1761 h 1798"/>
                <a:gd name="T48" fmla="*/ 24 w 1803"/>
                <a:gd name="T49" fmla="*/ 1798 h 1798"/>
                <a:gd name="T50" fmla="*/ 385 w 1803"/>
                <a:gd name="T51" fmla="*/ 1446 h 1798"/>
                <a:gd name="T52" fmla="*/ 8 w 1803"/>
                <a:gd name="T53" fmla="*/ 1761 h 1798"/>
                <a:gd name="T54" fmla="*/ 1336 w 1803"/>
                <a:gd name="T55" fmla="*/ 606 h 1798"/>
                <a:gd name="T56" fmla="*/ 1582 w 1803"/>
                <a:gd name="T57" fmla="*/ 298 h 1798"/>
                <a:gd name="T58" fmla="*/ 1472 w 1803"/>
                <a:gd name="T59" fmla="*/ 188 h 1798"/>
                <a:gd name="T60" fmla="*/ 1226 w 1803"/>
                <a:gd name="T61" fmla="*/ 496 h 1798"/>
                <a:gd name="T62" fmla="*/ 1472 w 1803"/>
                <a:gd name="T63" fmla="*/ 188 h 1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3" h="1798">
                  <a:moveTo>
                    <a:pt x="1470" y="802"/>
                  </a:moveTo>
                  <a:cubicBezTo>
                    <a:pt x="1478" y="810"/>
                    <a:pt x="1478" y="824"/>
                    <a:pt x="1470" y="833"/>
                  </a:cubicBezTo>
                  <a:cubicBezTo>
                    <a:pt x="1465" y="837"/>
                    <a:pt x="1460" y="839"/>
                    <a:pt x="1454" y="839"/>
                  </a:cubicBezTo>
                  <a:cubicBezTo>
                    <a:pt x="1448" y="839"/>
                    <a:pt x="1443" y="837"/>
                    <a:pt x="1438" y="833"/>
                  </a:cubicBezTo>
                  <a:cubicBezTo>
                    <a:pt x="972" y="366"/>
                    <a:pt x="972" y="366"/>
                    <a:pt x="972" y="366"/>
                  </a:cubicBezTo>
                  <a:cubicBezTo>
                    <a:pt x="963" y="357"/>
                    <a:pt x="963" y="343"/>
                    <a:pt x="972" y="335"/>
                  </a:cubicBezTo>
                  <a:cubicBezTo>
                    <a:pt x="980" y="326"/>
                    <a:pt x="994" y="326"/>
                    <a:pt x="1003" y="335"/>
                  </a:cubicBezTo>
                  <a:lnTo>
                    <a:pt x="1470" y="802"/>
                  </a:lnTo>
                  <a:close/>
                  <a:moveTo>
                    <a:pt x="767" y="1338"/>
                  </a:moveTo>
                  <a:cubicBezTo>
                    <a:pt x="757" y="1348"/>
                    <a:pt x="744" y="1353"/>
                    <a:pt x="730" y="1353"/>
                  </a:cubicBezTo>
                  <a:cubicBezTo>
                    <a:pt x="716" y="1353"/>
                    <a:pt x="703" y="1348"/>
                    <a:pt x="693" y="1338"/>
                  </a:cubicBezTo>
                  <a:cubicBezTo>
                    <a:pt x="462" y="1107"/>
                    <a:pt x="462" y="1107"/>
                    <a:pt x="462" y="1107"/>
                  </a:cubicBezTo>
                  <a:cubicBezTo>
                    <a:pt x="442" y="1087"/>
                    <a:pt x="442" y="1054"/>
                    <a:pt x="462" y="1033"/>
                  </a:cubicBezTo>
                  <a:cubicBezTo>
                    <a:pt x="1019" y="476"/>
                    <a:pt x="1019" y="476"/>
                    <a:pt x="1019" y="476"/>
                  </a:cubicBezTo>
                  <a:cubicBezTo>
                    <a:pt x="988" y="445"/>
                    <a:pt x="988" y="445"/>
                    <a:pt x="988" y="445"/>
                  </a:cubicBezTo>
                  <a:cubicBezTo>
                    <a:pt x="431" y="1002"/>
                    <a:pt x="431" y="1002"/>
                    <a:pt x="431" y="1002"/>
                  </a:cubicBezTo>
                  <a:cubicBezTo>
                    <a:pt x="393" y="1040"/>
                    <a:pt x="393" y="1101"/>
                    <a:pt x="431" y="1138"/>
                  </a:cubicBezTo>
                  <a:cubicBezTo>
                    <a:pt x="662" y="1369"/>
                    <a:pt x="662" y="1369"/>
                    <a:pt x="662" y="1369"/>
                  </a:cubicBezTo>
                  <a:cubicBezTo>
                    <a:pt x="680" y="1387"/>
                    <a:pt x="704" y="1397"/>
                    <a:pt x="730" y="1397"/>
                  </a:cubicBezTo>
                  <a:cubicBezTo>
                    <a:pt x="755" y="1397"/>
                    <a:pt x="780" y="1387"/>
                    <a:pt x="798" y="1369"/>
                  </a:cubicBezTo>
                  <a:cubicBezTo>
                    <a:pt x="1355" y="812"/>
                    <a:pt x="1355" y="812"/>
                    <a:pt x="1355" y="812"/>
                  </a:cubicBezTo>
                  <a:cubicBezTo>
                    <a:pt x="1324" y="781"/>
                    <a:pt x="1324" y="781"/>
                    <a:pt x="1324" y="781"/>
                  </a:cubicBezTo>
                  <a:lnTo>
                    <a:pt x="767" y="1338"/>
                  </a:lnTo>
                  <a:close/>
                  <a:moveTo>
                    <a:pt x="1794" y="386"/>
                  </a:moveTo>
                  <a:cubicBezTo>
                    <a:pt x="1416" y="8"/>
                    <a:pt x="1416" y="8"/>
                    <a:pt x="1416" y="8"/>
                  </a:cubicBezTo>
                  <a:cubicBezTo>
                    <a:pt x="1408" y="0"/>
                    <a:pt x="1394" y="0"/>
                    <a:pt x="1385" y="8"/>
                  </a:cubicBezTo>
                  <a:cubicBezTo>
                    <a:pt x="1377" y="17"/>
                    <a:pt x="1377" y="31"/>
                    <a:pt x="1385" y="39"/>
                  </a:cubicBezTo>
                  <a:cubicBezTo>
                    <a:pt x="1763" y="417"/>
                    <a:pt x="1763" y="417"/>
                    <a:pt x="1763" y="417"/>
                  </a:cubicBezTo>
                  <a:cubicBezTo>
                    <a:pt x="1767" y="421"/>
                    <a:pt x="1773" y="423"/>
                    <a:pt x="1778" y="423"/>
                  </a:cubicBezTo>
                  <a:cubicBezTo>
                    <a:pt x="1784" y="423"/>
                    <a:pt x="1790" y="421"/>
                    <a:pt x="1794" y="417"/>
                  </a:cubicBezTo>
                  <a:cubicBezTo>
                    <a:pt x="1803" y="408"/>
                    <a:pt x="1803" y="394"/>
                    <a:pt x="1794" y="386"/>
                  </a:cubicBezTo>
                  <a:close/>
                  <a:moveTo>
                    <a:pt x="479" y="1400"/>
                  </a:moveTo>
                  <a:cubicBezTo>
                    <a:pt x="478" y="1401"/>
                    <a:pt x="477" y="1401"/>
                    <a:pt x="476" y="1401"/>
                  </a:cubicBezTo>
                  <a:cubicBezTo>
                    <a:pt x="476" y="1401"/>
                    <a:pt x="475" y="1401"/>
                    <a:pt x="474" y="1400"/>
                  </a:cubicBezTo>
                  <a:cubicBezTo>
                    <a:pt x="400" y="1326"/>
                    <a:pt x="400" y="1326"/>
                    <a:pt x="400" y="1326"/>
                  </a:cubicBezTo>
                  <a:cubicBezTo>
                    <a:pt x="399" y="1325"/>
                    <a:pt x="399" y="1324"/>
                    <a:pt x="399" y="1324"/>
                  </a:cubicBezTo>
                  <a:cubicBezTo>
                    <a:pt x="399" y="1323"/>
                    <a:pt x="399" y="1322"/>
                    <a:pt x="400" y="1321"/>
                  </a:cubicBezTo>
                  <a:cubicBezTo>
                    <a:pt x="472" y="1249"/>
                    <a:pt x="472" y="1249"/>
                    <a:pt x="472" y="1249"/>
                  </a:cubicBezTo>
                  <a:cubicBezTo>
                    <a:pt x="441" y="1218"/>
                    <a:pt x="441" y="1218"/>
                    <a:pt x="441" y="1218"/>
                  </a:cubicBezTo>
                  <a:cubicBezTo>
                    <a:pt x="369" y="1290"/>
                    <a:pt x="369" y="1290"/>
                    <a:pt x="369" y="1290"/>
                  </a:cubicBezTo>
                  <a:cubicBezTo>
                    <a:pt x="350" y="1309"/>
                    <a:pt x="350" y="1339"/>
                    <a:pt x="369" y="1357"/>
                  </a:cubicBezTo>
                  <a:cubicBezTo>
                    <a:pt x="443" y="1431"/>
                    <a:pt x="443" y="1431"/>
                    <a:pt x="443" y="1431"/>
                  </a:cubicBezTo>
                  <a:cubicBezTo>
                    <a:pt x="452" y="1440"/>
                    <a:pt x="464" y="1445"/>
                    <a:pt x="476" y="1445"/>
                  </a:cubicBezTo>
                  <a:cubicBezTo>
                    <a:pt x="488" y="1445"/>
                    <a:pt x="501" y="1440"/>
                    <a:pt x="510" y="1431"/>
                  </a:cubicBezTo>
                  <a:cubicBezTo>
                    <a:pt x="582" y="1359"/>
                    <a:pt x="582" y="1359"/>
                    <a:pt x="582" y="1359"/>
                  </a:cubicBezTo>
                  <a:cubicBezTo>
                    <a:pt x="551" y="1328"/>
                    <a:pt x="551" y="1328"/>
                    <a:pt x="551" y="1328"/>
                  </a:cubicBezTo>
                  <a:lnTo>
                    <a:pt x="479" y="1400"/>
                  </a:lnTo>
                  <a:close/>
                  <a:moveTo>
                    <a:pt x="8" y="1761"/>
                  </a:moveTo>
                  <a:cubicBezTo>
                    <a:pt x="0" y="1769"/>
                    <a:pt x="0" y="1783"/>
                    <a:pt x="8" y="1792"/>
                  </a:cubicBezTo>
                  <a:cubicBezTo>
                    <a:pt x="13" y="1796"/>
                    <a:pt x="18" y="1798"/>
                    <a:pt x="24" y="1798"/>
                  </a:cubicBezTo>
                  <a:cubicBezTo>
                    <a:pt x="29" y="1798"/>
                    <a:pt x="35" y="1796"/>
                    <a:pt x="39" y="1792"/>
                  </a:cubicBezTo>
                  <a:cubicBezTo>
                    <a:pt x="385" y="1446"/>
                    <a:pt x="385" y="1446"/>
                    <a:pt x="385" y="1446"/>
                  </a:cubicBezTo>
                  <a:cubicBezTo>
                    <a:pt x="354" y="1415"/>
                    <a:pt x="354" y="1415"/>
                    <a:pt x="354" y="1415"/>
                  </a:cubicBezTo>
                  <a:lnTo>
                    <a:pt x="8" y="1761"/>
                  </a:lnTo>
                  <a:close/>
                  <a:moveTo>
                    <a:pt x="1305" y="575"/>
                  </a:moveTo>
                  <a:cubicBezTo>
                    <a:pt x="1336" y="606"/>
                    <a:pt x="1336" y="606"/>
                    <a:pt x="1336" y="606"/>
                  </a:cubicBezTo>
                  <a:cubicBezTo>
                    <a:pt x="1613" y="329"/>
                    <a:pt x="1613" y="329"/>
                    <a:pt x="1613" y="329"/>
                  </a:cubicBezTo>
                  <a:cubicBezTo>
                    <a:pt x="1582" y="298"/>
                    <a:pt x="1582" y="298"/>
                    <a:pt x="1582" y="298"/>
                  </a:cubicBezTo>
                  <a:lnTo>
                    <a:pt x="1305" y="575"/>
                  </a:lnTo>
                  <a:close/>
                  <a:moveTo>
                    <a:pt x="1472" y="188"/>
                  </a:moveTo>
                  <a:cubicBezTo>
                    <a:pt x="1195" y="465"/>
                    <a:pt x="1195" y="465"/>
                    <a:pt x="1195" y="465"/>
                  </a:cubicBezTo>
                  <a:cubicBezTo>
                    <a:pt x="1226" y="496"/>
                    <a:pt x="1226" y="496"/>
                    <a:pt x="1226" y="496"/>
                  </a:cubicBezTo>
                  <a:cubicBezTo>
                    <a:pt x="1503" y="219"/>
                    <a:pt x="1503" y="219"/>
                    <a:pt x="1503" y="219"/>
                  </a:cubicBezTo>
                  <a:lnTo>
                    <a:pt x="1472" y="188"/>
                  </a:lnTo>
                  <a:close/>
                </a:path>
              </a:pathLst>
            </a:custGeom>
            <a:solidFill>
              <a:srgbClr val="0519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Freeform 21">
              <a:extLst>
                <a:ext uri="{FF2B5EF4-FFF2-40B4-BE49-F238E27FC236}">
                  <a16:creationId xmlns:a16="http://schemas.microsoft.com/office/drawing/2014/main" id="{31E007BA-7CE2-43CD-B1D3-37760D830171}"/>
                </a:ext>
              </a:extLst>
            </p:cNvPr>
            <p:cNvSpPr>
              <a:spLocks/>
            </p:cNvSpPr>
            <p:nvPr/>
          </p:nvSpPr>
          <p:spPr bwMode="auto">
            <a:xfrm>
              <a:off x="3033" y="1451"/>
              <a:ext cx="1515" cy="1517"/>
            </a:xfrm>
            <a:custGeom>
              <a:avLst/>
              <a:gdLst>
                <a:gd name="T0" fmla="*/ 567 w 809"/>
                <a:gd name="T1" fmla="*/ 0 h 809"/>
                <a:gd name="T2" fmla="*/ 439 w 809"/>
                <a:gd name="T3" fmla="*/ 128 h 809"/>
                <a:gd name="T4" fmla="*/ 534 w 809"/>
                <a:gd name="T5" fmla="*/ 223 h 809"/>
                <a:gd name="T6" fmla="*/ 534 w 809"/>
                <a:gd name="T7" fmla="*/ 255 h 809"/>
                <a:gd name="T8" fmla="*/ 519 w 809"/>
                <a:gd name="T9" fmla="*/ 261 h 809"/>
                <a:gd name="T10" fmla="*/ 503 w 809"/>
                <a:gd name="T11" fmla="*/ 255 h 809"/>
                <a:gd name="T12" fmla="*/ 408 w 809"/>
                <a:gd name="T13" fmla="*/ 159 h 809"/>
                <a:gd name="T14" fmla="*/ 300 w 809"/>
                <a:gd name="T15" fmla="*/ 267 h 809"/>
                <a:gd name="T16" fmla="*/ 396 w 809"/>
                <a:gd name="T17" fmla="*/ 362 h 809"/>
                <a:gd name="T18" fmla="*/ 396 w 809"/>
                <a:gd name="T19" fmla="*/ 393 h 809"/>
                <a:gd name="T20" fmla="*/ 380 w 809"/>
                <a:gd name="T21" fmla="*/ 400 h 809"/>
                <a:gd name="T22" fmla="*/ 364 w 809"/>
                <a:gd name="T23" fmla="*/ 393 h 809"/>
                <a:gd name="T24" fmla="*/ 269 w 809"/>
                <a:gd name="T25" fmla="*/ 298 h 809"/>
                <a:gd name="T26" fmla="*/ 161 w 809"/>
                <a:gd name="T27" fmla="*/ 405 h 809"/>
                <a:gd name="T28" fmla="*/ 257 w 809"/>
                <a:gd name="T29" fmla="*/ 501 h 809"/>
                <a:gd name="T30" fmla="*/ 257 w 809"/>
                <a:gd name="T31" fmla="*/ 532 h 809"/>
                <a:gd name="T32" fmla="*/ 241 w 809"/>
                <a:gd name="T33" fmla="*/ 538 h 809"/>
                <a:gd name="T34" fmla="*/ 226 w 809"/>
                <a:gd name="T35" fmla="*/ 532 h 809"/>
                <a:gd name="T36" fmla="*/ 130 w 809"/>
                <a:gd name="T37" fmla="*/ 437 h 809"/>
                <a:gd name="T38" fmla="*/ 1 w 809"/>
                <a:gd name="T39" fmla="*/ 566 h 809"/>
                <a:gd name="T40" fmla="*/ 1 w 809"/>
                <a:gd name="T41" fmla="*/ 570 h 809"/>
                <a:gd name="T42" fmla="*/ 239 w 809"/>
                <a:gd name="T43" fmla="*/ 808 h 809"/>
                <a:gd name="T44" fmla="*/ 241 w 809"/>
                <a:gd name="T45" fmla="*/ 809 h 809"/>
                <a:gd name="T46" fmla="*/ 243 w 809"/>
                <a:gd name="T47" fmla="*/ 808 h 809"/>
                <a:gd name="T48" fmla="*/ 809 w 809"/>
                <a:gd name="T49" fmla="*/ 242 h 809"/>
                <a:gd name="T50" fmla="*/ 567 w 809"/>
                <a:gd name="T51" fmla="*/ 0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9" h="809">
                  <a:moveTo>
                    <a:pt x="567" y="0"/>
                  </a:moveTo>
                  <a:cubicBezTo>
                    <a:pt x="439" y="128"/>
                    <a:pt x="439" y="128"/>
                    <a:pt x="439" y="128"/>
                  </a:cubicBezTo>
                  <a:cubicBezTo>
                    <a:pt x="534" y="223"/>
                    <a:pt x="534" y="223"/>
                    <a:pt x="534" y="223"/>
                  </a:cubicBezTo>
                  <a:cubicBezTo>
                    <a:pt x="543" y="232"/>
                    <a:pt x="543" y="246"/>
                    <a:pt x="534" y="255"/>
                  </a:cubicBezTo>
                  <a:cubicBezTo>
                    <a:pt x="530" y="259"/>
                    <a:pt x="524" y="261"/>
                    <a:pt x="519" y="261"/>
                  </a:cubicBezTo>
                  <a:cubicBezTo>
                    <a:pt x="513" y="261"/>
                    <a:pt x="507" y="259"/>
                    <a:pt x="503" y="255"/>
                  </a:cubicBezTo>
                  <a:cubicBezTo>
                    <a:pt x="408" y="159"/>
                    <a:pt x="408" y="159"/>
                    <a:pt x="408" y="159"/>
                  </a:cubicBezTo>
                  <a:cubicBezTo>
                    <a:pt x="300" y="267"/>
                    <a:pt x="300" y="267"/>
                    <a:pt x="300" y="267"/>
                  </a:cubicBezTo>
                  <a:cubicBezTo>
                    <a:pt x="396" y="362"/>
                    <a:pt x="396" y="362"/>
                    <a:pt x="396" y="362"/>
                  </a:cubicBezTo>
                  <a:cubicBezTo>
                    <a:pt x="404" y="371"/>
                    <a:pt x="404" y="385"/>
                    <a:pt x="396" y="393"/>
                  </a:cubicBezTo>
                  <a:cubicBezTo>
                    <a:pt x="391" y="398"/>
                    <a:pt x="386" y="400"/>
                    <a:pt x="380" y="400"/>
                  </a:cubicBezTo>
                  <a:cubicBezTo>
                    <a:pt x="374" y="400"/>
                    <a:pt x="369" y="398"/>
                    <a:pt x="364" y="393"/>
                  </a:cubicBezTo>
                  <a:cubicBezTo>
                    <a:pt x="269" y="298"/>
                    <a:pt x="269" y="298"/>
                    <a:pt x="269" y="298"/>
                  </a:cubicBezTo>
                  <a:cubicBezTo>
                    <a:pt x="161" y="405"/>
                    <a:pt x="161" y="405"/>
                    <a:pt x="161" y="405"/>
                  </a:cubicBezTo>
                  <a:cubicBezTo>
                    <a:pt x="257" y="501"/>
                    <a:pt x="257" y="501"/>
                    <a:pt x="257" y="501"/>
                  </a:cubicBezTo>
                  <a:cubicBezTo>
                    <a:pt x="265" y="509"/>
                    <a:pt x="265" y="523"/>
                    <a:pt x="257" y="532"/>
                  </a:cubicBezTo>
                  <a:cubicBezTo>
                    <a:pt x="253" y="536"/>
                    <a:pt x="247" y="538"/>
                    <a:pt x="241" y="538"/>
                  </a:cubicBezTo>
                  <a:cubicBezTo>
                    <a:pt x="236" y="538"/>
                    <a:pt x="230" y="536"/>
                    <a:pt x="226" y="532"/>
                  </a:cubicBezTo>
                  <a:cubicBezTo>
                    <a:pt x="130" y="437"/>
                    <a:pt x="130" y="437"/>
                    <a:pt x="130" y="437"/>
                  </a:cubicBezTo>
                  <a:cubicBezTo>
                    <a:pt x="1" y="566"/>
                    <a:pt x="1" y="566"/>
                    <a:pt x="1" y="566"/>
                  </a:cubicBezTo>
                  <a:cubicBezTo>
                    <a:pt x="0" y="567"/>
                    <a:pt x="0" y="569"/>
                    <a:pt x="1" y="570"/>
                  </a:cubicBezTo>
                  <a:cubicBezTo>
                    <a:pt x="239" y="808"/>
                    <a:pt x="239" y="808"/>
                    <a:pt x="239" y="808"/>
                  </a:cubicBezTo>
                  <a:cubicBezTo>
                    <a:pt x="239" y="808"/>
                    <a:pt x="240" y="809"/>
                    <a:pt x="241" y="809"/>
                  </a:cubicBezTo>
                  <a:cubicBezTo>
                    <a:pt x="242" y="809"/>
                    <a:pt x="243" y="808"/>
                    <a:pt x="243" y="808"/>
                  </a:cubicBezTo>
                  <a:cubicBezTo>
                    <a:pt x="809" y="242"/>
                    <a:pt x="809" y="242"/>
                    <a:pt x="809" y="242"/>
                  </a:cubicBezTo>
                  <a:lnTo>
                    <a:pt x="567" y="0"/>
                  </a:lnTo>
                  <a:close/>
                </a:path>
              </a:pathLst>
            </a:custGeom>
            <a:solidFill>
              <a:srgbClr val="0A37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2" name="Group 31">
            <a:extLst>
              <a:ext uri="{FF2B5EF4-FFF2-40B4-BE49-F238E27FC236}">
                <a16:creationId xmlns:a16="http://schemas.microsoft.com/office/drawing/2014/main" id="{FA375639-7882-48BE-B886-68DFE722168B}"/>
              </a:ext>
            </a:extLst>
          </p:cNvPr>
          <p:cNvGrpSpPr/>
          <p:nvPr/>
        </p:nvGrpSpPr>
        <p:grpSpPr>
          <a:xfrm>
            <a:off x="8112375" y="2081213"/>
            <a:ext cx="306171" cy="4079081"/>
            <a:chOff x="5942914" y="2081213"/>
            <a:chExt cx="306171" cy="4079081"/>
          </a:xfrm>
        </p:grpSpPr>
        <p:cxnSp>
          <p:nvCxnSpPr>
            <p:cNvPr id="33" name="Straight Connector 32">
              <a:extLst>
                <a:ext uri="{FF2B5EF4-FFF2-40B4-BE49-F238E27FC236}">
                  <a16:creationId xmlns:a16="http://schemas.microsoft.com/office/drawing/2014/main" id="{2C4CC5E2-ED38-48E0-B0F6-3322B47CC0F1}"/>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C70F1A9-E63E-438C-9AB4-51B4DB081BE7}"/>
                </a:ext>
              </a:extLst>
            </p:cNvPr>
            <p:cNvGrpSpPr/>
            <p:nvPr/>
          </p:nvGrpSpPr>
          <p:grpSpPr>
            <a:xfrm>
              <a:off x="5942914" y="3967299"/>
              <a:ext cx="306171" cy="306910"/>
              <a:chOff x="5937564" y="3833745"/>
              <a:chExt cx="306171" cy="306910"/>
            </a:xfrm>
          </p:grpSpPr>
          <p:sp>
            <p:nvSpPr>
              <p:cNvPr id="35" name="Freeform 94">
                <a:extLst>
                  <a:ext uri="{FF2B5EF4-FFF2-40B4-BE49-F238E27FC236}">
                    <a16:creationId xmlns:a16="http://schemas.microsoft.com/office/drawing/2014/main" id="{9FA62D01-BDC2-4BAB-A7B5-86840AC8D6E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51934"/>
              </a:solidFill>
              <a:ln>
                <a:solidFill>
                  <a:srgbClr val="051934"/>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sp>
            <p:nvSpPr>
              <p:cNvPr id="36" name="Freeform 95">
                <a:extLst>
                  <a:ext uri="{FF2B5EF4-FFF2-40B4-BE49-F238E27FC236}">
                    <a16:creationId xmlns:a16="http://schemas.microsoft.com/office/drawing/2014/main" id="{3584D124-26B8-4991-ABD8-B95C9EAA13B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grpSp>
      </p:grpSp>
      <p:sp>
        <p:nvSpPr>
          <p:cNvPr id="37" name="Rectangle 36">
            <a:extLst>
              <a:ext uri="{FF2B5EF4-FFF2-40B4-BE49-F238E27FC236}">
                <a16:creationId xmlns:a16="http://schemas.microsoft.com/office/drawing/2014/main" id="{56D67520-AB36-4361-BDB4-BE5C93FB8C63}"/>
              </a:ext>
            </a:extLst>
          </p:cNvPr>
          <p:cNvSpPr/>
          <p:nvPr/>
        </p:nvSpPr>
        <p:spPr>
          <a:xfrm>
            <a:off x="648744" y="1546195"/>
            <a:ext cx="6366419" cy="53501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1+ dose vaccination rate among eligible youth population, by County</a:t>
            </a:r>
            <a:r>
              <a:rPr kumimoji="0" lang="en-US" sz="1600" b="0" i="0" u="none" strike="noStrike" kern="1200" cap="none" spc="0" normalizeH="0" baseline="30000" noProof="0" dirty="0">
                <a:ln>
                  <a:noFill/>
                </a:ln>
                <a:solidFill>
                  <a:srgbClr val="000000"/>
                </a:solidFill>
                <a:effectLst/>
                <a:uLnTx/>
                <a:uFillTx/>
                <a:latin typeface="Calibri"/>
                <a:ea typeface="+mn-ea"/>
                <a:cs typeface="+mn-cs"/>
              </a:rPr>
              <a:t>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7F7F7F"/>
                </a:solidFill>
                <a:effectLst/>
                <a:uLnTx/>
                <a:uFillTx/>
                <a:latin typeface="Calibri"/>
                <a:ea typeface="+mn-ea"/>
                <a:cs typeface="+mn-cs"/>
              </a:rPr>
              <a:t>As of 9/17</a:t>
            </a:r>
          </a:p>
        </p:txBody>
      </p:sp>
      <p:sp>
        <p:nvSpPr>
          <p:cNvPr id="38" name="Rectangle 37">
            <a:extLst>
              <a:ext uri="{FF2B5EF4-FFF2-40B4-BE49-F238E27FC236}">
                <a16:creationId xmlns:a16="http://schemas.microsoft.com/office/drawing/2014/main" id="{FDD2AEB7-C2F4-4D8A-B199-126A6525145A}"/>
              </a:ext>
            </a:extLst>
          </p:cNvPr>
          <p:cNvSpPr/>
          <p:nvPr/>
        </p:nvSpPr>
        <p:spPr>
          <a:xfrm>
            <a:off x="8502143" y="2081213"/>
            <a:ext cx="3061207" cy="400390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94400" marR="0" lvl="1" indent="-129600" algn="l" defTabSz="914400" rtl="0" eaLnBrk="1" fontAlgn="auto" latinLnBrk="0" hangingPunct="1">
              <a:lnSpc>
                <a:spcPct val="100000"/>
              </a:lnSpc>
              <a:spcBef>
                <a:spcPts val="0"/>
              </a:spcBef>
              <a:spcAft>
                <a:spcPts val="6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opulation of 12-to-17-year-olds unevenly distributed across Kansas; wide disparity in vaccination rates</a:t>
            </a:r>
          </a:p>
          <a:p>
            <a:pPr marL="194400" marR="0" lvl="1" indent="-129600" algn="l" defTabSz="914400" rtl="0" eaLnBrk="1" fontAlgn="auto" latinLnBrk="0" hangingPunct="1">
              <a:lnSpc>
                <a:spcPct val="100000"/>
              </a:lnSpc>
              <a:spcBef>
                <a:spcPts val="0"/>
              </a:spcBef>
              <a:spcAft>
                <a:spcPts val="6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ohnson, Douglas and Riley Counties exceed national youth Vx rate</a:t>
            </a:r>
          </a:p>
          <a:p>
            <a:pPr marL="194400" marR="0" lvl="1" indent="-129600" algn="l" defTabSz="914400" rtl="0" eaLnBrk="1" fontAlgn="auto" latinLnBrk="0" hangingPunct="1">
              <a:lnSpc>
                <a:spcPct val="100000"/>
              </a:lnSpc>
              <a:spcBef>
                <a:spcPts val="0"/>
              </a:spcBef>
              <a:spcAft>
                <a:spcPts val="6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Johnson County has highest gross eligible youth population and second-highest vaccination rate at 62%</a:t>
            </a:r>
          </a:p>
          <a:p>
            <a:pPr marL="194400" marR="0" lvl="1" indent="-129600" algn="l" defTabSz="914400" rtl="0" eaLnBrk="1" fontAlgn="auto" latinLnBrk="0" hangingPunct="1">
              <a:lnSpc>
                <a:spcPct val="100000"/>
              </a:lnSpc>
              <a:spcBef>
                <a:spcPts val="0"/>
              </a:spcBef>
              <a:spcAft>
                <a:spcPts val="600"/>
              </a:spcAft>
              <a:buClr>
                <a:srgbClr val="051934"/>
              </a:buClr>
              <a:buSzPct val="100000"/>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Sedgwick County has similar gross youth population, but only 41% vaccination rate among youths</a:t>
            </a:r>
          </a:p>
        </p:txBody>
      </p:sp>
      <p:sp>
        <p:nvSpPr>
          <p:cNvPr id="39" name="ee4pFootnotes">
            <a:extLst>
              <a:ext uri="{FF2B5EF4-FFF2-40B4-BE49-F238E27FC236}">
                <a16:creationId xmlns:a16="http://schemas.microsoft.com/office/drawing/2014/main" id="{DFFBD19B-FADD-4A04-8489-9E131346DBD1}"/>
              </a:ext>
            </a:extLst>
          </p:cNvPr>
          <p:cNvSpPr>
            <a:spLocks noChangeArrowheads="1"/>
          </p:cNvSpPr>
          <p:nvPr/>
        </p:nvSpPr>
        <p:spPr bwMode="auto">
          <a:xfrm>
            <a:off x="628650" y="6200101"/>
            <a:ext cx="10208770"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rPr>
              <a:t>1. 1</a:t>
            </a:r>
            <a:r>
              <a:rPr kumimoji="0" lang="en-US" sz="1000" b="0" i="0" u="none" strike="noStrike" kern="1200" cap="none" spc="0" normalizeH="0" baseline="30000" noProof="0" dirty="0">
                <a:ln>
                  <a:noFill/>
                </a:ln>
                <a:solidFill>
                  <a:prstClr val="white">
                    <a:lumMod val="50000"/>
                  </a:prstClr>
                </a:solidFill>
                <a:effectLst/>
                <a:uLnTx/>
                <a:uFillTx/>
                <a:latin typeface="Calibri" panose="020F0502020204030204" pitchFamily="34" charset="0"/>
                <a:ea typeface="+mn-ea"/>
                <a:cs typeface="+mn-cs"/>
                <a:sym typeface="+mn-lt"/>
              </a:rPr>
              <a:t>st</a:t>
            </a: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rPr>
              <a:t> dose only among 12-to-17-year-olds, who are eligible only for Pfizer vaccine, 2. Based on 2020 Census data, 3. May exclude Vx administered by federally-enrolled pharmacies</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mn-cs"/>
                <a:sym typeface="+mn-lt"/>
              </a:rPr>
              <a:t>Source: U.S. Census (2020); KDHE Epidemiology data as of 9/8</a:t>
            </a:r>
          </a:p>
        </p:txBody>
      </p:sp>
      <p:pic>
        <p:nvPicPr>
          <p:cNvPr id="5" name="Picture 4">
            <a:extLst>
              <a:ext uri="{FF2B5EF4-FFF2-40B4-BE49-F238E27FC236}">
                <a16:creationId xmlns:a16="http://schemas.microsoft.com/office/drawing/2014/main" id="{556BA9EE-411D-44BE-BF98-00F06DDA1D28}"/>
              </a:ext>
            </a:extLst>
          </p:cNvPr>
          <p:cNvPicPr>
            <a:picLocks noChangeAspect="1"/>
          </p:cNvPicPr>
          <p:nvPr/>
        </p:nvPicPr>
        <p:blipFill>
          <a:blip r:embed="rId6"/>
          <a:stretch>
            <a:fillRect/>
          </a:stretch>
        </p:blipFill>
        <p:spPr>
          <a:xfrm>
            <a:off x="894789" y="1922931"/>
            <a:ext cx="7394142" cy="3927179"/>
          </a:xfrm>
          <a:prstGeom prst="rect">
            <a:avLst/>
          </a:prstGeom>
        </p:spPr>
      </p:pic>
    </p:spTree>
    <p:extLst>
      <p:ext uri="{BB962C8B-B14F-4D97-AF65-F5344CB8AC3E}">
        <p14:creationId xmlns:p14="http://schemas.microsoft.com/office/powerpoint/2010/main" val="2074979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692BDEB-2C88-4EC7-B645-83EEB06DA5C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579" name="think-cell Slide" r:id="rId47" imgW="395" imgH="394" progId="TCLayout.ActiveDocument.1">
                  <p:embed/>
                </p:oleObj>
              </mc:Choice>
              <mc:Fallback>
                <p:oleObj name="think-cell Slide" r:id="rId47" imgW="395" imgH="394" progId="TCLayout.ActiveDocument.1">
                  <p:embed/>
                  <p:pic>
                    <p:nvPicPr>
                      <p:cNvPr id="4" name="Object 3" hidden="1">
                        <a:extLst>
                          <a:ext uri="{FF2B5EF4-FFF2-40B4-BE49-F238E27FC236}">
                            <a16:creationId xmlns:a16="http://schemas.microsoft.com/office/drawing/2014/main" id="{7692BDEB-2C88-4EC7-B645-83EEB06DA5CE}"/>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E37A79-4C3C-4314-B881-B689C1D85348}"/>
              </a:ext>
            </a:extLst>
          </p:cNvPr>
          <p:cNvSpPr>
            <a:spLocks noGrp="1"/>
          </p:cNvSpPr>
          <p:nvPr>
            <p:ph type="title"/>
          </p:nvPr>
        </p:nvSpPr>
        <p:spPr>
          <a:xfrm>
            <a:off x="1058257" y="644194"/>
            <a:ext cx="10845265" cy="387798"/>
          </a:xfrm>
        </p:spPr>
        <p:txBody>
          <a:bodyPr vert="horz"/>
          <a:lstStyle/>
          <a:p>
            <a:r>
              <a:rPr lang="en-US" dirty="0">
                <a:solidFill>
                  <a:srgbClr val="EDAE1D"/>
                </a:solidFill>
              </a:rPr>
              <a:t>Testing |</a:t>
            </a:r>
            <a:r>
              <a:rPr lang="en-US" dirty="0"/>
              <a:t> Rate of application for funding and ongoing testing</a:t>
            </a:r>
          </a:p>
        </p:txBody>
      </p:sp>
      <p:cxnSp>
        <p:nvCxnSpPr>
          <p:cNvPr id="23" name="Straight Connector 22">
            <a:extLst>
              <a:ext uri="{FF2B5EF4-FFF2-40B4-BE49-F238E27FC236}">
                <a16:creationId xmlns:a16="http://schemas.microsoft.com/office/drawing/2014/main" id="{313AB003-01E4-48CE-82A1-84D7B6D4B32A}"/>
              </a:ext>
            </a:extLst>
          </p:cNvPr>
          <p:cNvCxnSpPr/>
          <p:nvPr>
            <p:custDataLst>
              <p:tags r:id="rId3"/>
            </p:custDataLst>
          </p:nvPr>
        </p:nvCxnSpPr>
        <p:spPr bwMode="gray">
          <a:xfrm>
            <a:off x="1004888" y="4505325"/>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3BEC018C-66CE-4FF3-ACDA-963290887C24}"/>
              </a:ext>
            </a:extLst>
          </p:cNvPr>
          <p:cNvCxnSpPr/>
          <p:nvPr>
            <p:custDataLst>
              <p:tags r:id="rId4"/>
            </p:custDataLst>
          </p:nvPr>
        </p:nvCxnSpPr>
        <p:spPr bwMode="gray">
          <a:xfrm>
            <a:off x="1849438" y="3817938"/>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27A1D307-CF76-47E8-9A1C-D23A3A53694A}"/>
              </a:ext>
            </a:extLst>
          </p:cNvPr>
          <p:cNvCxnSpPr/>
          <p:nvPr>
            <p:custDataLst>
              <p:tags r:id="rId5"/>
            </p:custDataLst>
          </p:nvPr>
        </p:nvCxnSpPr>
        <p:spPr bwMode="gray">
          <a:xfrm>
            <a:off x="2695575" y="3295650"/>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5CFDB63-1F94-4164-9EE2-3FC594E3A8DE}"/>
              </a:ext>
            </a:extLst>
          </p:cNvPr>
          <p:cNvCxnSpPr/>
          <p:nvPr>
            <p:custDataLst>
              <p:tags r:id="rId6"/>
            </p:custDataLst>
          </p:nvPr>
        </p:nvCxnSpPr>
        <p:spPr bwMode="gray">
          <a:xfrm>
            <a:off x="3540125" y="2814638"/>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4" name="Chart 83">
            <a:extLst>
              <a:ext uri="{FF2B5EF4-FFF2-40B4-BE49-F238E27FC236}">
                <a16:creationId xmlns:a16="http://schemas.microsoft.com/office/drawing/2014/main" id="{C38BBA52-6CC5-4864-9D75-56C59F57C6C1}"/>
              </a:ext>
            </a:extLst>
          </p:cNvPr>
          <p:cNvGraphicFramePr/>
          <p:nvPr>
            <p:custDataLst>
              <p:tags r:id="rId7"/>
            </p:custDataLst>
          </p:nvPr>
        </p:nvGraphicFramePr>
        <p:xfrm>
          <a:off x="234950" y="2732088"/>
          <a:ext cx="4392613" cy="2133600"/>
        </p:xfrm>
        <a:graphic>
          <a:graphicData uri="http://schemas.openxmlformats.org/drawingml/2006/chart">
            <c:chart xmlns:c="http://schemas.openxmlformats.org/drawingml/2006/chart" xmlns:r="http://schemas.openxmlformats.org/officeDocument/2006/relationships" r:id="rId49"/>
          </a:graphicData>
        </a:graphic>
      </p:graphicFrame>
      <p:sp useBgFill="1">
        <p:nvSpPr>
          <p:cNvPr id="30" name="Freeform: Shape 29">
            <a:extLst>
              <a:ext uri="{FF2B5EF4-FFF2-40B4-BE49-F238E27FC236}">
                <a16:creationId xmlns:a16="http://schemas.microsoft.com/office/drawing/2014/main" id="{401EEB26-9BDB-461D-9952-EFD85BAEB49C}"/>
              </a:ext>
            </a:extLst>
          </p:cNvPr>
          <p:cNvSpPr/>
          <p:nvPr>
            <p:custDataLst>
              <p:tags r:id="rId8"/>
            </p:custDataLst>
          </p:nvPr>
        </p:nvSpPr>
        <p:spPr bwMode="gray">
          <a:xfrm>
            <a:off x="3806825" y="4532313"/>
            <a:ext cx="628651" cy="227013"/>
          </a:xfrm>
          <a:custGeom>
            <a:avLst/>
            <a:gdLst/>
            <a:ahLst/>
            <a:cxnLst/>
            <a:rect l="0" t="0" r="0" b="0"/>
            <a:pathLst>
              <a:path w="628651" h="227013">
                <a:moveTo>
                  <a:pt x="0" y="169862"/>
                </a:moveTo>
                <a:lnTo>
                  <a:pt x="628650" y="0"/>
                </a:lnTo>
                <a:lnTo>
                  <a:pt x="628650" y="57150"/>
                </a:lnTo>
                <a:lnTo>
                  <a:pt x="0" y="227012"/>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useBgFill="1">
        <p:nvSpPr>
          <p:cNvPr id="16" name="Freeform: Shape 15">
            <a:extLst>
              <a:ext uri="{FF2B5EF4-FFF2-40B4-BE49-F238E27FC236}">
                <a16:creationId xmlns:a16="http://schemas.microsoft.com/office/drawing/2014/main" id="{BB8B2013-C949-4884-9455-26CE168E2EE2}"/>
              </a:ext>
            </a:extLst>
          </p:cNvPr>
          <p:cNvSpPr/>
          <p:nvPr>
            <p:custDataLst>
              <p:tags r:id="rId9"/>
            </p:custDataLst>
          </p:nvPr>
        </p:nvSpPr>
        <p:spPr bwMode="gray">
          <a:xfrm>
            <a:off x="425450" y="4532313"/>
            <a:ext cx="628651" cy="227013"/>
          </a:xfrm>
          <a:custGeom>
            <a:avLst/>
            <a:gdLst/>
            <a:ahLst/>
            <a:cxnLst/>
            <a:rect l="0" t="0" r="0" b="0"/>
            <a:pathLst>
              <a:path w="628651" h="227013">
                <a:moveTo>
                  <a:pt x="0" y="169862"/>
                </a:moveTo>
                <a:lnTo>
                  <a:pt x="628650" y="0"/>
                </a:lnTo>
                <a:lnTo>
                  <a:pt x="628650" y="57150"/>
                </a:lnTo>
                <a:lnTo>
                  <a:pt x="0" y="227012"/>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4" name="Freeform: Shape 13">
            <a:extLst>
              <a:ext uri="{FF2B5EF4-FFF2-40B4-BE49-F238E27FC236}">
                <a16:creationId xmlns:a16="http://schemas.microsoft.com/office/drawing/2014/main" id="{5553ACFC-D1CD-4D76-9B69-BFD2C14BCE19}"/>
              </a:ext>
            </a:extLst>
          </p:cNvPr>
          <p:cNvSpPr/>
          <p:nvPr>
            <p:custDataLst>
              <p:tags r:id="rId10"/>
            </p:custDataLst>
          </p:nvPr>
        </p:nvSpPr>
        <p:spPr bwMode="gray">
          <a:xfrm>
            <a:off x="425450" y="453231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7057A915-6156-4133-89B8-EC37E37D4EF2}"/>
              </a:ext>
            </a:extLst>
          </p:cNvPr>
          <p:cNvSpPr/>
          <p:nvPr>
            <p:custDataLst>
              <p:tags r:id="rId11"/>
            </p:custDataLst>
          </p:nvPr>
        </p:nvSpPr>
        <p:spPr bwMode="gray">
          <a:xfrm>
            <a:off x="425450" y="458946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Shape 27">
            <a:extLst>
              <a:ext uri="{FF2B5EF4-FFF2-40B4-BE49-F238E27FC236}">
                <a16:creationId xmlns:a16="http://schemas.microsoft.com/office/drawing/2014/main" id="{4445942F-409D-4FC4-A011-949004C2D2B9}"/>
              </a:ext>
            </a:extLst>
          </p:cNvPr>
          <p:cNvSpPr/>
          <p:nvPr>
            <p:custDataLst>
              <p:tags r:id="rId12"/>
            </p:custDataLst>
          </p:nvPr>
        </p:nvSpPr>
        <p:spPr bwMode="gray">
          <a:xfrm>
            <a:off x="3806825" y="453231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Shape 28">
            <a:extLst>
              <a:ext uri="{FF2B5EF4-FFF2-40B4-BE49-F238E27FC236}">
                <a16:creationId xmlns:a16="http://schemas.microsoft.com/office/drawing/2014/main" id="{60F6873D-8506-45C2-B35F-F68B8B069BD9}"/>
              </a:ext>
            </a:extLst>
          </p:cNvPr>
          <p:cNvSpPr/>
          <p:nvPr>
            <p:custDataLst>
              <p:tags r:id="rId13"/>
            </p:custDataLst>
          </p:nvPr>
        </p:nvSpPr>
        <p:spPr bwMode="gray">
          <a:xfrm>
            <a:off x="3806825" y="458946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70" name="Text Placeholder 3">
            <a:extLst>
              <a:ext uri="{FF2B5EF4-FFF2-40B4-BE49-F238E27FC236}">
                <a16:creationId xmlns:a16="http://schemas.microsoft.com/office/drawing/2014/main" id="{CC3BD699-23A5-410D-ABF2-C493EAED0AAE}"/>
              </a:ext>
            </a:extLst>
          </p:cNvPr>
          <p:cNvSpPr>
            <a:spLocks noGrp="1"/>
          </p:cNvSpPr>
          <p:nvPr>
            <p:custDataLst>
              <p:tags r:id="rId14"/>
            </p:custDataLst>
          </p:nvPr>
        </p:nvSpPr>
        <p:spPr bwMode="gray">
          <a:xfrm>
            <a:off x="1370013" y="3943350"/>
            <a:ext cx="428625"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3B2C2EB-EF59-488F-A878-BAA1D8C7E7A4}" type="datetime'''''''''''''''5''''''''''''''''''0'''''''''''''''''''">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50</a:t>
            </a:fld>
            <a:b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fld id="{6FE0855C-EDAE-4422-A406-959EA490E024}" type="datetime'''''''''''''''''''''''''''''1''''''''''6''''%'''''''''''''''">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6%</a:t>
            </a:fld>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6" name="Text Placeholder 3">
            <a:extLst>
              <a:ext uri="{FF2B5EF4-FFF2-40B4-BE49-F238E27FC236}">
                <a16:creationId xmlns:a16="http://schemas.microsoft.com/office/drawing/2014/main" id="{82B1BAF6-3A50-42DE-88A9-4BBE293E79D2}"/>
              </a:ext>
            </a:extLst>
          </p:cNvPr>
          <p:cNvSpPr>
            <a:spLocks noGrp="1"/>
          </p:cNvSpPr>
          <p:nvPr>
            <p:custDataLst>
              <p:tags r:id="rId15"/>
            </p:custDataLst>
          </p:nvPr>
        </p:nvSpPr>
        <p:spPr bwMode="gray">
          <a:xfrm>
            <a:off x="323849" y="4838700"/>
            <a:ext cx="833438" cy="652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CA483E63-89BD-4F70-B7D8-E40ED9F7399D}" type="datetime'Dra''''fted,'' s''ub''m''itt''e''d, ''or'' app''''rove''''d'''">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rafted, submitted, or approved</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9" name="Text Placeholder 3">
            <a:extLst>
              <a:ext uri="{FF2B5EF4-FFF2-40B4-BE49-F238E27FC236}">
                <a16:creationId xmlns:a16="http://schemas.microsoft.com/office/drawing/2014/main" id="{9A437099-13B3-410E-970D-6174625F7822}"/>
              </a:ext>
            </a:extLst>
          </p:cNvPr>
          <p:cNvSpPr>
            <a:spLocks noGrp="1"/>
          </p:cNvSpPr>
          <p:nvPr>
            <p:custDataLst>
              <p:tags r:id="rId16"/>
            </p:custDataLst>
          </p:nvPr>
        </p:nvSpPr>
        <p:spPr bwMode="gray">
          <a:xfrm>
            <a:off x="1235075" y="4838700"/>
            <a:ext cx="70008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B7FEA3E-F512-4ED4-9A13-BC20D796218B}" type="datetime'I''n''''''t''''''e''''''''''''''r''''e''''st''''e''''''d'''''">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Interested</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96" name="Text Placeholder 3">
            <a:extLst>
              <a:ext uri="{FF2B5EF4-FFF2-40B4-BE49-F238E27FC236}">
                <a16:creationId xmlns:a16="http://schemas.microsoft.com/office/drawing/2014/main" id="{D43426BC-2995-4A9D-808C-BF5F5FD9D60C}"/>
              </a:ext>
            </a:extLst>
          </p:cNvPr>
          <p:cNvSpPr>
            <a:spLocks noGrp="1"/>
          </p:cNvSpPr>
          <p:nvPr>
            <p:custDataLst>
              <p:tags r:id="rId17"/>
            </p:custDataLst>
          </p:nvPr>
        </p:nvSpPr>
        <p:spPr bwMode="gray">
          <a:xfrm>
            <a:off x="2216150" y="3338513"/>
            <a:ext cx="428625"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224D0613-0EB5-4225-8949-6A098CC09702}" type="datetime'''''''3''''''''''''''''''''''''''8'">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8</a:t>
            </a:fld>
            <a:b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fld id="{23A5EB1F-F104-4B2A-835A-131C42B09A85}" type="datetime'1''''''''''''''''2''''''''''''''''''''''''''''''''%'''">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2%</a:t>
            </a:fld>
            <a:r>
              <a:rPr kumimoji="0" lang="en-US" sz="1300" b="0" i="0" u="none" strike="noStrike" kern="1200" cap="none" spc="0" normalizeH="0" baseline="0" noProof="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2" name="Text Placeholder 3">
            <a:extLst>
              <a:ext uri="{FF2B5EF4-FFF2-40B4-BE49-F238E27FC236}">
                <a16:creationId xmlns:a16="http://schemas.microsoft.com/office/drawing/2014/main" id="{18942159-5877-4BCE-A2B9-90F33D3DC5C3}"/>
              </a:ext>
            </a:extLst>
          </p:cNvPr>
          <p:cNvSpPr>
            <a:spLocks noGrp="1"/>
          </p:cNvSpPr>
          <p:nvPr>
            <p:custDataLst>
              <p:tags r:id="rId18"/>
            </p:custDataLst>
          </p:nvPr>
        </p:nvSpPr>
        <p:spPr bwMode="gray">
          <a:xfrm>
            <a:off x="2117725" y="4838700"/>
            <a:ext cx="625475" cy="4349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15038A0F-53AC-4838-B875-436735F58DE2}" type="datetime'''''''''''''''No ''''''''r''es''p''''o''''n''''''''s''''''e'''">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o response</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97" name="Text Placeholder 3">
            <a:extLst>
              <a:ext uri="{FF2B5EF4-FFF2-40B4-BE49-F238E27FC236}">
                <a16:creationId xmlns:a16="http://schemas.microsoft.com/office/drawing/2014/main" id="{478E8AC4-708C-4708-A8E1-F610D7DA1E06}"/>
              </a:ext>
            </a:extLst>
          </p:cNvPr>
          <p:cNvSpPr>
            <a:spLocks noGrp="1"/>
          </p:cNvSpPr>
          <p:nvPr>
            <p:custDataLst>
              <p:tags r:id="rId19"/>
            </p:custDataLst>
          </p:nvPr>
        </p:nvSpPr>
        <p:spPr bwMode="gray">
          <a:xfrm>
            <a:off x="3060700" y="2836863"/>
            <a:ext cx="428625"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0920FA06-3A93-4B0B-ABD1-3FB9E8443AC2}" type="datetime'3''5'''''''''''''''''''''''''''''''''''''''''''''''''">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5</a:t>
            </a:fld>
            <a:b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fld id="{DBCD7756-912B-4F26-A058-6057F39AD425}" type="datetime'1''''''''''''''''''''''''''''''''''1''''''''''''''''''%'''''''">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1%</a:t>
            </a:fld>
            <a:r>
              <a:rPr kumimoji="0" lang="en-US" sz="1300" b="0" i="0" u="none" strike="noStrike" kern="1200" cap="none" spc="0" normalizeH="0" baseline="0" noProof="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39" name="Text Placeholder 3">
            <a:extLst>
              <a:ext uri="{FF2B5EF4-FFF2-40B4-BE49-F238E27FC236}">
                <a16:creationId xmlns:a16="http://schemas.microsoft.com/office/drawing/2014/main" id="{2198910D-427D-4EFD-A080-D3AB8D78763F}"/>
              </a:ext>
            </a:extLst>
          </p:cNvPr>
          <p:cNvSpPr>
            <a:spLocks noGrp="1"/>
          </p:cNvSpPr>
          <p:nvPr>
            <p:custDataLst>
              <p:tags r:id="rId20"/>
            </p:custDataLst>
          </p:nvPr>
        </p:nvSpPr>
        <p:spPr bwMode="gray">
          <a:xfrm>
            <a:off x="2895600" y="4838700"/>
            <a:ext cx="760413"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412C4B14-F288-4419-A193-691217838C1A}" type="datetime'''N''o ''i''n''''''''''t''''e''''''''''''''''r''e''s''''''''t'">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o interest</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53" name="Text Placeholder 3">
            <a:extLst>
              <a:ext uri="{FF2B5EF4-FFF2-40B4-BE49-F238E27FC236}">
                <a16:creationId xmlns:a16="http://schemas.microsoft.com/office/drawing/2014/main" id="{036D21F3-BA73-4537-B5BB-FA588FF8FE72}"/>
              </a:ext>
            </a:extLst>
          </p:cNvPr>
          <p:cNvSpPr>
            <a:spLocks noGrp="1"/>
          </p:cNvSpPr>
          <p:nvPr>
            <p:custDataLst>
              <p:tags r:id="rId21"/>
            </p:custDataLst>
          </p:nvPr>
        </p:nvSpPr>
        <p:spPr bwMode="gray">
          <a:xfrm>
            <a:off x="3952875" y="4838700"/>
            <a:ext cx="33813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BE4A061-39D1-460A-9CB5-2DAFAEDF7F13}" type="datetime'''''T''''''''o''''''''''''''''''t''''''''''a''''l'''''''">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otal</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64" name="Text Placeholder 3">
            <a:extLst>
              <a:ext uri="{FF2B5EF4-FFF2-40B4-BE49-F238E27FC236}">
                <a16:creationId xmlns:a16="http://schemas.microsoft.com/office/drawing/2014/main" id="{43F47CBE-8A85-4307-B075-CF1C208063F2}"/>
              </a:ext>
            </a:extLst>
          </p:cNvPr>
          <p:cNvSpPr>
            <a:spLocks noGrp="1"/>
          </p:cNvSpPr>
          <p:nvPr>
            <p:custDataLst>
              <p:tags r:id="rId22"/>
            </p:custDataLst>
          </p:nvPr>
        </p:nvSpPr>
        <p:spPr bwMode="gray">
          <a:xfrm>
            <a:off x="525463" y="4044950"/>
            <a:ext cx="428625" cy="4349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FBDF7127-13C4-47F8-A402-81629A040D86}" type="datetime'''''''''''''''''''''''''''''1''''''''''''''''''8''''''''4'''">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84</a:t>
            </a:fld>
            <a:b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t>(</a:t>
            </a:r>
            <a:fld id="{215D92F9-6B5B-4DA0-831E-B963C7061F15}" type="datetime'''''''''''''''''''''''''''''''''''6''''''''''''''''0%'">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60%</a:t>
            </a:fld>
            <a: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54" name="Text Placeholder 3">
            <a:extLst>
              <a:ext uri="{FF2B5EF4-FFF2-40B4-BE49-F238E27FC236}">
                <a16:creationId xmlns:a16="http://schemas.microsoft.com/office/drawing/2014/main" id="{A680FA55-7614-4BE4-AB58-D1F9AD1887E1}"/>
              </a:ext>
            </a:extLst>
          </p:cNvPr>
          <p:cNvSpPr>
            <a:spLocks noGrp="1"/>
          </p:cNvSpPr>
          <p:nvPr>
            <p:custDataLst>
              <p:tags r:id="rId23"/>
            </p:custDataLst>
          </p:nvPr>
        </p:nvSpPr>
        <p:spPr bwMode="gray">
          <a:xfrm>
            <a:off x="3975100" y="2571750"/>
            <a:ext cx="29368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D534155E-AF1E-403C-B1B0-7C82282BEA98}" type="datetime'''''''''''3''''''''''0''''''7'''''''''''''''''''''''">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07</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40" name="Rectangle 39">
            <a:extLst>
              <a:ext uri="{FF2B5EF4-FFF2-40B4-BE49-F238E27FC236}">
                <a16:creationId xmlns:a16="http://schemas.microsoft.com/office/drawing/2014/main" id="{B1F00E15-DA9E-46E9-A8A8-A2EE603E07FB}"/>
              </a:ext>
            </a:extLst>
          </p:cNvPr>
          <p:cNvSpPr/>
          <p:nvPr/>
        </p:nvSpPr>
        <p:spPr>
          <a:xfrm>
            <a:off x="323849" y="2081213"/>
            <a:ext cx="4221257" cy="5127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1934"/>
                </a:solidFill>
                <a:effectLst/>
                <a:uLnTx/>
                <a:uFillTx/>
                <a:latin typeface="Calibri"/>
                <a:ea typeface="+mn-ea"/>
                <a:cs typeface="+mn-cs"/>
              </a:rPr>
              <a:t>School Districts seeking testing fu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7F7F7F"/>
                </a:solidFill>
                <a:effectLst/>
                <a:uLnTx/>
                <a:uFillTx/>
                <a:latin typeface="Calibri"/>
                <a:ea typeface="+mn-ea"/>
                <a:cs typeface="+mn-cs"/>
              </a:rPr>
              <a:t>As of 9/16, both Public and Private schools</a:t>
            </a:r>
          </a:p>
        </p:txBody>
      </p:sp>
      <p:sp>
        <p:nvSpPr>
          <p:cNvPr id="66" name="Rectangle 65">
            <a:extLst>
              <a:ext uri="{FF2B5EF4-FFF2-40B4-BE49-F238E27FC236}">
                <a16:creationId xmlns:a16="http://schemas.microsoft.com/office/drawing/2014/main" id="{DFC7048F-A604-4A71-8886-1F97AC466160}"/>
              </a:ext>
            </a:extLst>
          </p:cNvPr>
          <p:cNvSpPr/>
          <p:nvPr/>
        </p:nvSpPr>
        <p:spPr>
          <a:xfrm>
            <a:off x="4975226" y="2081213"/>
            <a:ext cx="4189294" cy="5667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1934"/>
                </a:solidFill>
                <a:effectLst/>
                <a:uLnTx/>
                <a:uFillTx/>
                <a:latin typeface="Calibri"/>
                <a:ea typeface="+mn-ea"/>
                <a:cs typeface="+mn-cs"/>
              </a:rPr>
              <a:t>Children affected in each gro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7F7F7F"/>
                </a:solidFill>
                <a:effectLst/>
                <a:uLnTx/>
                <a:uFillTx/>
                <a:latin typeface="Calibri"/>
                <a:ea typeface="+mn-ea"/>
                <a:cs typeface="+mn-cs"/>
              </a:rPr>
              <a:t>As of 9/16 (000s of children, %)</a:t>
            </a:r>
            <a:r>
              <a:rPr kumimoji="0" lang="en-US" sz="1400" b="0" i="1" u="none" strike="noStrike" kern="1200" cap="none" spc="0" normalizeH="0" baseline="30000" noProof="0" dirty="0">
                <a:ln>
                  <a:noFill/>
                </a:ln>
                <a:solidFill>
                  <a:srgbClr val="7F7F7F"/>
                </a:solidFill>
                <a:effectLst/>
                <a:uLnTx/>
                <a:uFillTx/>
                <a:latin typeface="Calibri"/>
                <a:ea typeface="+mn-ea"/>
                <a:cs typeface="+mn-cs"/>
              </a:rPr>
              <a:t>1</a:t>
            </a:r>
            <a:r>
              <a:rPr kumimoji="0" lang="en-US" sz="1400" b="0" i="1" u="none" strike="noStrike" kern="1200" cap="none" spc="0" normalizeH="0" baseline="0" noProof="0" dirty="0">
                <a:ln>
                  <a:noFill/>
                </a:ln>
                <a:solidFill>
                  <a:srgbClr val="7F7F7F"/>
                </a:solidFill>
                <a:effectLst/>
                <a:uLnTx/>
                <a:uFillTx/>
                <a:latin typeface="Calibri"/>
                <a:ea typeface="+mn-ea"/>
                <a:cs typeface="+mn-cs"/>
              </a:rPr>
              <a:t>, Public schoolkids only</a:t>
            </a:r>
          </a:p>
        </p:txBody>
      </p:sp>
      <p:grpSp>
        <p:nvGrpSpPr>
          <p:cNvPr id="70" name="Group 69">
            <a:extLst>
              <a:ext uri="{FF2B5EF4-FFF2-40B4-BE49-F238E27FC236}">
                <a16:creationId xmlns:a16="http://schemas.microsoft.com/office/drawing/2014/main" id="{1D7CB8C3-8D2E-4FF0-8756-A412523DA018}"/>
              </a:ext>
            </a:extLst>
          </p:cNvPr>
          <p:cNvGrpSpPr/>
          <p:nvPr/>
        </p:nvGrpSpPr>
        <p:grpSpPr>
          <a:xfrm>
            <a:off x="9196487" y="2082007"/>
            <a:ext cx="306171" cy="4079081"/>
            <a:chOff x="5942914" y="2081213"/>
            <a:chExt cx="306171" cy="4079081"/>
          </a:xfrm>
        </p:grpSpPr>
        <p:cxnSp>
          <p:nvCxnSpPr>
            <p:cNvPr id="71" name="Straight Connector 70">
              <a:extLst>
                <a:ext uri="{FF2B5EF4-FFF2-40B4-BE49-F238E27FC236}">
                  <a16:creationId xmlns:a16="http://schemas.microsoft.com/office/drawing/2014/main" id="{D0813DAF-6C18-40CF-9BEA-62F7E2ADA3B4}"/>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6BEF1E64-6924-4727-9CE9-C48C86DA41CC}"/>
                </a:ext>
              </a:extLst>
            </p:cNvPr>
            <p:cNvGrpSpPr/>
            <p:nvPr/>
          </p:nvGrpSpPr>
          <p:grpSpPr>
            <a:xfrm>
              <a:off x="5942914" y="3967299"/>
              <a:ext cx="306171" cy="306910"/>
              <a:chOff x="5937564" y="3833745"/>
              <a:chExt cx="306171" cy="306910"/>
            </a:xfrm>
          </p:grpSpPr>
          <p:sp>
            <p:nvSpPr>
              <p:cNvPr id="73" name="Freeform 94">
                <a:extLst>
                  <a:ext uri="{FF2B5EF4-FFF2-40B4-BE49-F238E27FC236}">
                    <a16:creationId xmlns:a16="http://schemas.microsoft.com/office/drawing/2014/main" id="{B01FA17B-8833-435C-A236-E810E4844C80}"/>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51934"/>
              </a:solidFill>
              <a:ln>
                <a:solidFill>
                  <a:srgbClr val="051934"/>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sp>
            <p:nvSpPr>
              <p:cNvPr id="74" name="Freeform 95">
                <a:extLst>
                  <a:ext uri="{FF2B5EF4-FFF2-40B4-BE49-F238E27FC236}">
                    <a16:creationId xmlns:a16="http://schemas.microsoft.com/office/drawing/2014/main" id="{554B5390-C8E8-4C8B-869B-4C8A9F9239FA}"/>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grpSp>
      </p:grpSp>
      <p:sp>
        <p:nvSpPr>
          <p:cNvPr id="187" name="NavigationTriangle">
            <a:extLst>
              <a:ext uri="{FF2B5EF4-FFF2-40B4-BE49-F238E27FC236}">
                <a16:creationId xmlns:a16="http://schemas.microsoft.com/office/drawing/2014/main" id="{E2428D25-9A75-4E77-9EC1-7D8FE5029727}"/>
              </a:ext>
            </a:extLst>
          </p:cNvPr>
          <p:cNvSpPr/>
          <p:nvPr/>
        </p:nvSpPr>
        <p:spPr>
          <a:xfrm rot="16200000">
            <a:off x="11116165" y="-21446"/>
            <a:ext cx="1054387" cy="1097280"/>
          </a:xfrm>
          <a:prstGeom prst="triangle">
            <a:avLst>
              <a:gd name="adj" fmla="val 100000"/>
            </a:avLst>
          </a:prstGeom>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88" name="Oval 187">
            <a:extLst>
              <a:ext uri="{FF2B5EF4-FFF2-40B4-BE49-F238E27FC236}">
                <a16:creationId xmlns:a16="http://schemas.microsoft.com/office/drawing/2014/main" id="{857E56B5-980B-4565-AAE6-48EA13D1FB1F}"/>
              </a:ext>
            </a:extLst>
          </p:cNvPr>
          <p:cNvSpPr/>
          <p:nvPr/>
        </p:nvSpPr>
        <p:spPr>
          <a:xfrm>
            <a:off x="11410390" y="217715"/>
            <a:ext cx="465935" cy="465935"/>
          </a:xfrm>
          <a:prstGeom prst="ellipse">
            <a:avLst/>
          </a:prstGeom>
          <a:solidFill>
            <a:srgbClr val="FFFFFF"/>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grpSp>
        <p:nvGrpSpPr>
          <p:cNvPr id="189" name="Group 188">
            <a:extLst>
              <a:ext uri="{FF2B5EF4-FFF2-40B4-BE49-F238E27FC236}">
                <a16:creationId xmlns:a16="http://schemas.microsoft.com/office/drawing/2014/main" id="{DE99C237-5091-498F-A128-4FD08B673081}"/>
              </a:ext>
            </a:extLst>
          </p:cNvPr>
          <p:cNvGrpSpPr>
            <a:grpSpLocks noChangeAspect="1"/>
          </p:cNvGrpSpPr>
          <p:nvPr/>
        </p:nvGrpSpPr>
        <p:grpSpPr>
          <a:xfrm>
            <a:off x="11448006" y="271665"/>
            <a:ext cx="390771" cy="390771"/>
            <a:chOff x="1983582" y="2081213"/>
            <a:chExt cx="1647825" cy="1647825"/>
          </a:xfrm>
        </p:grpSpPr>
        <p:sp>
          <p:nvSpPr>
            <p:cNvPr id="190" name="AutoShape 48">
              <a:extLst>
                <a:ext uri="{FF2B5EF4-FFF2-40B4-BE49-F238E27FC236}">
                  <a16:creationId xmlns:a16="http://schemas.microsoft.com/office/drawing/2014/main" id="{270B319C-4BF1-4E4E-B556-539BFCB801AD}"/>
                </a:ext>
              </a:extLst>
            </p:cNvPr>
            <p:cNvSpPr>
              <a:spLocks noChangeAspect="1" noChangeArrowheads="1" noTextEdit="1"/>
            </p:cNvSpPr>
            <p:nvPr/>
          </p:nvSpPr>
          <p:spPr bwMode="auto">
            <a:xfrm>
              <a:off x="1983582" y="2081213"/>
              <a:ext cx="1647825"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191" name="Group 190">
              <a:extLst>
                <a:ext uri="{FF2B5EF4-FFF2-40B4-BE49-F238E27FC236}">
                  <a16:creationId xmlns:a16="http://schemas.microsoft.com/office/drawing/2014/main" id="{B97FA68D-C67C-40DE-8B75-1F0E95415CA3}"/>
                </a:ext>
              </a:extLst>
            </p:cNvPr>
            <p:cNvGrpSpPr/>
            <p:nvPr/>
          </p:nvGrpSpPr>
          <p:grpSpPr>
            <a:xfrm>
              <a:off x="2523672" y="2254814"/>
              <a:ext cx="567645" cy="1300624"/>
              <a:chOff x="2523672" y="2254814"/>
              <a:chExt cx="567645" cy="1300624"/>
            </a:xfrm>
          </p:grpSpPr>
          <p:sp>
            <p:nvSpPr>
              <p:cNvPr id="192" name="Freeform 50">
                <a:extLst>
                  <a:ext uri="{FF2B5EF4-FFF2-40B4-BE49-F238E27FC236}">
                    <a16:creationId xmlns:a16="http://schemas.microsoft.com/office/drawing/2014/main" id="{D91CE270-3F24-4AE1-B1CD-80E90E629301}"/>
                  </a:ext>
                </a:extLst>
              </p:cNvPr>
              <p:cNvSpPr>
                <a:spLocks noEditPoints="1"/>
              </p:cNvSpPr>
              <p:nvPr/>
            </p:nvSpPr>
            <p:spPr bwMode="auto">
              <a:xfrm>
                <a:off x="2523672" y="2254814"/>
                <a:ext cx="567645" cy="1300624"/>
              </a:xfrm>
              <a:custGeom>
                <a:avLst/>
                <a:gdLst>
                  <a:gd name="T0" fmla="*/ 689 w 792"/>
                  <a:gd name="T1" fmla="*/ 0 h 1820"/>
                  <a:gd name="T2" fmla="*/ 103 w 792"/>
                  <a:gd name="T3" fmla="*/ 0 h 1820"/>
                  <a:gd name="T4" fmla="*/ 0 w 792"/>
                  <a:gd name="T5" fmla="*/ 103 h 1820"/>
                  <a:gd name="T6" fmla="*/ 103 w 792"/>
                  <a:gd name="T7" fmla="*/ 206 h 1820"/>
                  <a:gd name="T8" fmla="*/ 106 w 792"/>
                  <a:gd name="T9" fmla="*/ 206 h 1820"/>
                  <a:gd name="T10" fmla="*/ 106 w 792"/>
                  <a:gd name="T11" fmla="*/ 1529 h 1820"/>
                  <a:gd name="T12" fmla="*/ 396 w 792"/>
                  <a:gd name="T13" fmla="*/ 1820 h 1820"/>
                  <a:gd name="T14" fmla="*/ 686 w 792"/>
                  <a:gd name="T15" fmla="*/ 1529 h 1820"/>
                  <a:gd name="T16" fmla="*/ 686 w 792"/>
                  <a:gd name="T17" fmla="*/ 206 h 1820"/>
                  <a:gd name="T18" fmla="*/ 689 w 792"/>
                  <a:gd name="T19" fmla="*/ 206 h 1820"/>
                  <a:gd name="T20" fmla="*/ 792 w 792"/>
                  <a:gd name="T21" fmla="*/ 103 h 1820"/>
                  <a:gd name="T22" fmla="*/ 689 w 792"/>
                  <a:gd name="T23" fmla="*/ 0 h 1820"/>
                  <a:gd name="T24" fmla="*/ 689 w 792"/>
                  <a:gd name="T25" fmla="*/ 163 h 1820"/>
                  <a:gd name="T26" fmla="*/ 643 w 792"/>
                  <a:gd name="T27" fmla="*/ 163 h 1820"/>
                  <a:gd name="T28" fmla="*/ 643 w 792"/>
                  <a:gd name="T29" fmla="*/ 1529 h 1820"/>
                  <a:gd name="T30" fmla="*/ 396 w 792"/>
                  <a:gd name="T31" fmla="*/ 1776 h 1820"/>
                  <a:gd name="T32" fmla="*/ 396 w 792"/>
                  <a:gd name="T33" fmla="*/ 1776 h 1820"/>
                  <a:gd name="T34" fmla="*/ 149 w 792"/>
                  <a:gd name="T35" fmla="*/ 1529 h 1820"/>
                  <a:gd name="T36" fmla="*/ 149 w 792"/>
                  <a:gd name="T37" fmla="*/ 163 h 1820"/>
                  <a:gd name="T38" fmla="*/ 103 w 792"/>
                  <a:gd name="T39" fmla="*/ 163 h 1820"/>
                  <a:gd name="T40" fmla="*/ 44 w 792"/>
                  <a:gd name="T41" fmla="*/ 103 h 1820"/>
                  <a:gd name="T42" fmla="*/ 103 w 792"/>
                  <a:gd name="T43" fmla="*/ 44 h 1820"/>
                  <a:gd name="T44" fmla="*/ 689 w 792"/>
                  <a:gd name="T45" fmla="*/ 44 h 1820"/>
                  <a:gd name="T46" fmla="*/ 748 w 792"/>
                  <a:gd name="T47" fmla="*/ 103 h 1820"/>
                  <a:gd name="T48" fmla="*/ 689 w 792"/>
                  <a:gd name="T49" fmla="*/ 163 h 1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2" h="1820">
                    <a:moveTo>
                      <a:pt x="689" y="0"/>
                    </a:moveTo>
                    <a:cubicBezTo>
                      <a:pt x="103" y="0"/>
                      <a:pt x="103" y="0"/>
                      <a:pt x="103" y="0"/>
                    </a:cubicBezTo>
                    <a:cubicBezTo>
                      <a:pt x="47" y="0"/>
                      <a:pt x="0" y="47"/>
                      <a:pt x="0" y="103"/>
                    </a:cubicBezTo>
                    <a:cubicBezTo>
                      <a:pt x="0" y="161"/>
                      <a:pt x="47" y="206"/>
                      <a:pt x="103" y="206"/>
                    </a:cubicBezTo>
                    <a:cubicBezTo>
                      <a:pt x="106" y="206"/>
                      <a:pt x="106" y="206"/>
                      <a:pt x="106" y="206"/>
                    </a:cubicBezTo>
                    <a:cubicBezTo>
                      <a:pt x="106" y="1529"/>
                      <a:pt x="106" y="1529"/>
                      <a:pt x="106" y="1529"/>
                    </a:cubicBezTo>
                    <a:cubicBezTo>
                      <a:pt x="106" y="1689"/>
                      <a:pt x="236" y="1820"/>
                      <a:pt x="396" y="1820"/>
                    </a:cubicBezTo>
                    <a:cubicBezTo>
                      <a:pt x="556" y="1820"/>
                      <a:pt x="686" y="1689"/>
                      <a:pt x="686" y="1529"/>
                    </a:cubicBezTo>
                    <a:cubicBezTo>
                      <a:pt x="686" y="206"/>
                      <a:pt x="686" y="206"/>
                      <a:pt x="686" y="206"/>
                    </a:cubicBezTo>
                    <a:cubicBezTo>
                      <a:pt x="689" y="206"/>
                      <a:pt x="689" y="206"/>
                      <a:pt x="689" y="206"/>
                    </a:cubicBezTo>
                    <a:cubicBezTo>
                      <a:pt x="745" y="206"/>
                      <a:pt x="792" y="161"/>
                      <a:pt x="792" y="103"/>
                    </a:cubicBezTo>
                    <a:cubicBezTo>
                      <a:pt x="792" y="47"/>
                      <a:pt x="745" y="0"/>
                      <a:pt x="689" y="0"/>
                    </a:cubicBezTo>
                    <a:close/>
                    <a:moveTo>
                      <a:pt x="689" y="163"/>
                    </a:moveTo>
                    <a:cubicBezTo>
                      <a:pt x="643" y="163"/>
                      <a:pt x="643" y="163"/>
                      <a:pt x="643" y="163"/>
                    </a:cubicBezTo>
                    <a:cubicBezTo>
                      <a:pt x="643" y="1529"/>
                      <a:pt x="643" y="1529"/>
                      <a:pt x="643" y="1529"/>
                    </a:cubicBezTo>
                    <a:cubicBezTo>
                      <a:pt x="643" y="1665"/>
                      <a:pt x="533" y="1776"/>
                      <a:pt x="396" y="1776"/>
                    </a:cubicBezTo>
                    <a:cubicBezTo>
                      <a:pt x="396" y="1776"/>
                      <a:pt x="396" y="1776"/>
                      <a:pt x="396" y="1776"/>
                    </a:cubicBezTo>
                    <a:cubicBezTo>
                      <a:pt x="259" y="1776"/>
                      <a:pt x="149" y="1665"/>
                      <a:pt x="149" y="1529"/>
                    </a:cubicBezTo>
                    <a:cubicBezTo>
                      <a:pt x="149" y="163"/>
                      <a:pt x="149" y="163"/>
                      <a:pt x="149" y="163"/>
                    </a:cubicBezTo>
                    <a:cubicBezTo>
                      <a:pt x="103" y="163"/>
                      <a:pt x="103" y="163"/>
                      <a:pt x="103" y="163"/>
                    </a:cubicBezTo>
                    <a:cubicBezTo>
                      <a:pt x="70" y="163"/>
                      <a:pt x="44" y="136"/>
                      <a:pt x="44" y="103"/>
                    </a:cubicBezTo>
                    <a:cubicBezTo>
                      <a:pt x="44" y="70"/>
                      <a:pt x="70" y="44"/>
                      <a:pt x="103" y="44"/>
                    </a:cubicBezTo>
                    <a:cubicBezTo>
                      <a:pt x="689" y="44"/>
                      <a:pt x="689" y="44"/>
                      <a:pt x="689" y="44"/>
                    </a:cubicBezTo>
                    <a:cubicBezTo>
                      <a:pt x="722" y="44"/>
                      <a:pt x="748" y="70"/>
                      <a:pt x="748" y="103"/>
                    </a:cubicBezTo>
                    <a:cubicBezTo>
                      <a:pt x="748" y="136"/>
                      <a:pt x="722" y="163"/>
                      <a:pt x="689" y="163"/>
                    </a:cubicBezTo>
                    <a:close/>
                  </a:path>
                </a:pathLst>
              </a:custGeom>
              <a:solidFill>
                <a:srgbClr val="05193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93" name="Freeform 51">
                <a:extLst>
                  <a:ext uri="{FF2B5EF4-FFF2-40B4-BE49-F238E27FC236}">
                    <a16:creationId xmlns:a16="http://schemas.microsoft.com/office/drawing/2014/main" id="{4579269A-6FC5-423D-9884-23D7E0883A83}"/>
                  </a:ext>
                </a:extLst>
              </p:cNvPr>
              <p:cNvSpPr>
                <a:spLocks noEditPoints="1"/>
              </p:cNvSpPr>
              <p:nvPr/>
            </p:nvSpPr>
            <p:spPr bwMode="auto">
              <a:xfrm>
                <a:off x="2664206" y="2905126"/>
                <a:ext cx="286578" cy="589690"/>
              </a:xfrm>
              <a:custGeom>
                <a:avLst/>
                <a:gdLst>
                  <a:gd name="T0" fmla="*/ 0 w 404"/>
                  <a:gd name="T1" fmla="*/ 0 h 823"/>
                  <a:gd name="T2" fmla="*/ 0 w 404"/>
                  <a:gd name="T3" fmla="*/ 619 h 823"/>
                  <a:gd name="T4" fmla="*/ 202 w 404"/>
                  <a:gd name="T5" fmla="*/ 823 h 823"/>
                  <a:gd name="T6" fmla="*/ 404 w 404"/>
                  <a:gd name="T7" fmla="*/ 619 h 823"/>
                  <a:gd name="T8" fmla="*/ 404 w 404"/>
                  <a:gd name="T9" fmla="*/ 0 h 823"/>
                  <a:gd name="T10" fmla="*/ 0 w 404"/>
                  <a:gd name="T11" fmla="*/ 0 h 823"/>
                  <a:gd name="T12" fmla="*/ 0 w 404"/>
                  <a:gd name="T13" fmla="*/ 0 h 823"/>
                  <a:gd name="T14" fmla="*/ 292 w 404"/>
                  <a:gd name="T15" fmla="*/ 156 h 823"/>
                  <a:gd name="T16" fmla="*/ 323 w 404"/>
                  <a:gd name="T17" fmla="*/ 188 h 823"/>
                  <a:gd name="T18" fmla="*/ 292 w 404"/>
                  <a:gd name="T19" fmla="*/ 219 h 823"/>
                  <a:gd name="T20" fmla="*/ 260 w 404"/>
                  <a:gd name="T21" fmla="*/ 188 h 823"/>
                  <a:gd name="T22" fmla="*/ 292 w 404"/>
                  <a:gd name="T23" fmla="*/ 156 h 823"/>
                  <a:gd name="T24" fmla="*/ 134 w 404"/>
                  <a:gd name="T25" fmla="*/ 705 h 823"/>
                  <a:gd name="T26" fmla="*/ 64 w 404"/>
                  <a:gd name="T27" fmla="*/ 634 h 823"/>
                  <a:gd name="T28" fmla="*/ 134 w 404"/>
                  <a:gd name="T29" fmla="*/ 564 h 823"/>
                  <a:gd name="T30" fmla="*/ 204 w 404"/>
                  <a:gd name="T31" fmla="*/ 634 h 823"/>
                  <a:gd name="T32" fmla="*/ 134 w 404"/>
                  <a:gd name="T33" fmla="*/ 705 h 823"/>
                  <a:gd name="T34" fmla="*/ 181 w 404"/>
                  <a:gd name="T35" fmla="*/ 286 h 823"/>
                  <a:gd name="T36" fmla="*/ 221 w 404"/>
                  <a:gd name="T37" fmla="*/ 246 h 823"/>
                  <a:gd name="T38" fmla="*/ 260 w 404"/>
                  <a:gd name="T39" fmla="*/ 286 h 823"/>
                  <a:gd name="T40" fmla="*/ 221 w 404"/>
                  <a:gd name="T41" fmla="*/ 325 h 823"/>
                  <a:gd name="T42" fmla="*/ 181 w 404"/>
                  <a:gd name="T43" fmla="*/ 286 h 823"/>
                  <a:gd name="T44" fmla="*/ 304 w 404"/>
                  <a:gd name="T45" fmla="*/ 698 h 823"/>
                  <a:gd name="T46" fmla="*/ 270 w 404"/>
                  <a:gd name="T47" fmla="*/ 664 h 823"/>
                  <a:gd name="T48" fmla="*/ 304 w 404"/>
                  <a:gd name="T49" fmla="*/ 630 h 823"/>
                  <a:gd name="T50" fmla="*/ 337 w 404"/>
                  <a:gd name="T51" fmla="*/ 664 h 823"/>
                  <a:gd name="T52" fmla="*/ 304 w 404"/>
                  <a:gd name="T53" fmla="*/ 698 h 823"/>
                  <a:gd name="T54" fmla="*/ 287 w 404"/>
                  <a:gd name="T55" fmla="*/ 524 h 823"/>
                  <a:gd name="T56" fmla="*/ 232 w 404"/>
                  <a:gd name="T57" fmla="*/ 469 h 823"/>
                  <a:gd name="T58" fmla="*/ 287 w 404"/>
                  <a:gd name="T59" fmla="*/ 413 h 823"/>
                  <a:gd name="T60" fmla="*/ 342 w 404"/>
                  <a:gd name="T61" fmla="*/ 469 h 823"/>
                  <a:gd name="T62" fmla="*/ 287 w 404"/>
                  <a:gd name="T63" fmla="*/ 524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823">
                    <a:moveTo>
                      <a:pt x="0" y="0"/>
                    </a:moveTo>
                    <a:cubicBezTo>
                      <a:pt x="0" y="619"/>
                      <a:pt x="0" y="619"/>
                      <a:pt x="0" y="619"/>
                    </a:cubicBezTo>
                    <a:cubicBezTo>
                      <a:pt x="0" y="732"/>
                      <a:pt x="90" y="823"/>
                      <a:pt x="202" y="823"/>
                    </a:cubicBezTo>
                    <a:cubicBezTo>
                      <a:pt x="314" y="823"/>
                      <a:pt x="404" y="732"/>
                      <a:pt x="404" y="619"/>
                    </a:cubicBezTo>
                    <a:cubicBezTo>
                      <a:pt x="404" y="0"/>
                      <a:pt x="404" y="0"/>
                      <a:pt x="404" y="0"/>
                    </a:cubicBezTo>
                    <a:cubicBezTo>
                      <a:pt x="0" y="0"/>
                      <a:pt x="0" y="0"/>
                      <a:pt x="0" y="0"/>
                    </a:cubicBezTo>
                    <a:cubicBezTo>
                      <a:pt x="0" y="0"/>
                      <a:pt x="0" y="0"/>
                      <a:pt x="0" y="0"/>
                    </a:cubicBezTo>
                    <a:close/>
                    <a:moveTo>
                      <a:pt x="292" y="156"/>
                    </a:moveTo>
                    <a:cubicBezTo>
                      <a:pt x="310" y="156"/>
                      <a:pt x="323" y="170"/>
                      <a:pt x="323" y="188"/>
                    </a:cubicBezTo>
                    <a:cubicBezTo>
                      <a:pt x="323" y="205"/>
                      <a:pt x="310" y="219"/>
                      <a:pt x="292" y="219"/>
                    </a:cubicBezTo>
                    <a:cubicBezTo>
                      <a:pt x="274" y="219"/>
                      <a:pt x="260" y="205"/>
                      <a:pt x="260" y="188"/>
                    </a:cubicBezTo>
                    <a:cubicBezTo>
                      <a:pt x="260" y="170"/>
                      <a:pt x="274" y="156"/>
                      <a:pt x="292" y="156"/>
                    </a:cubicBezTo>
                    <a:close/>
                    <a:moveTo>
                      <a:pt x="134" y="705"/>
                    </a:moveTo>
                    <a:cubicBezTo>
                      <a:pt x="95" y="705"/>
                      <a:pt x="64" y="673"/>
                      <a:pt x="64" y="634"/>
                    </a:cubicBezTo>
                    <a:cubicBezTo>
                      <a:pt x="64" y="596"/>
                      <a:pt x="95" y="564"/>
                      <a:pt x="134" y="564"/>
                    </a:cubicBezTo>
                    <a:cubicBezTo>
                      <a:pt x="172" y="564"/>
                      <a:pt x="204" y="596"/>
                      <a:pt x="204" y="634"/>
                    </a:cubicBezTo>
                    <a:cubicBezTo>
                      <a:pt x="204" y="673"/>
                      <a:pt x="172" y="705"/>
                      <a:pt x="134" y="705"/>
                    </a:cubicBezTo>
                    <a:close/>
                    <a:moveTo>
                      <a:pt x="181" y="286"/>
                    </a:moveTo>
                    <a:cubicBezTo>
                      <a:pt x="181" y="264"/>
                      <a:pt x="199" y="246"/>
                      <a:pt x="221" y="246"/>
                    </a:cubicBezTo>
                    <a:cubicBezTo>
                      <a:pt x="242" y="246"/>
                      <a:pt x="260" y="264"/>
                      <a:pt x="260" y="286"/>
                    </a:cubicBezTo>
                    <a:cubicBezTo>
                      <a:pt x="260" y="308"/>
                      <a:pt x="242" y="325"/>
                      <a:pt x="221" y="325"/>
                    </a:cubicBezTo>
                    <a:cubicBezTo>
                      <a:pt x="199" y="325"/>
                      <a:pt x="181" y="308"/>
                      <a:pt x="181" y="286"/>
                    </a:cubicBezTo>
                    <a:close/>
                    <a:moveTo>
                      <a:pt x="304" y="698"/>
                    </a:moveTo>
                    <a:cubicBezTo>
                      <a:pt x="285" y="698"/>
                      <a:pt x="270" y="683"/>
                      <a:pt x="270" y="664"/>
                    </a:cubicBezTo>
                    <a:cubicBezTo>
                      <a:pt x="270" y="645"/>
                      <a:pt x="285" y="630"/>
                      <a:pt x="304" y="630"/>
                    </a:cubicBezTo>
                    <a:cubicBezTo>
                      <a:pt x="322" y="630"/>
                      <a:pt x="337" y="645"/>
                      <a:pt x="337" y="664"/>
                    </a:cubicBezTo>
                    <a:cubicBezTo>
                      <a:pt x="337" y="683"/>
                      <a:pt x="322" y="698"/>
                      <a:pt x="304" y="698"/>
                    </a:cubicBezTo>
                    <a:close/>
                    <a:moveTo>
                      <a:pt x="287" y="524"/>
                    </a:moveTo>
                    <a:cubicBezTo>
                      <a:pt x="256" y="524"/>
                      <a:pt x="232" y="499"/>
                      <a:pt x="232" y="469"/>
                    </a:cubicBezTo>
                    <a:cubicBezTo>
                      <a:pt x="232" y="438"/>
                      <a:pt x="256" y="413"/>
                      <a:pt x="287" y="413"/>
                    </a:cubicBezTo>
                    <a:cubicBezTo>
                      <a:pt x="317" y="413"/>
                      <a:pt x="342" y="438"/>
                      <a:pt x="342" y="469"/>
                    </a:cubicBezTo>
                    <a:cubicBezTo>
                      <a:pt x="342" y="499"/>
                      <a:pt x="317" y="524"/>
                      <a:pt x="287" y="524"/>
                    </a:cubicBezTo>
                    <a:close/>
                  </a:path>
                </a:pathLst>
              </a:custGeom>
              <a:solidFill>
                <a:srgbClr val="0A377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grpSp>
      </p:grpSp>
      <p:sp>
        <p:nvSpPr>
          <p:cNvPr id="39" name="Rectangle 38">
            <a:extLst>
              <a:ext uri="{FF2B5EF4-FFF2-40B4-BE49-F238E27FC236}">
                <a16:creationId xmlns:a16="http://schemas.microsoft.com/office/drawing/2014/main" id="{D57FB0BF-E153-4BF4-B5C8-89EF8BF0CA08}"/>
              </a:ext>
            </a:extLst>
          </p:cNvPr>
          <p:cNvSpPr/>
          <p:nvPr/>
        </p:nvSpPr>
        <p:spPr>
          <a:xfrm>
            <a:off x="9534626" y="2090787"/>
            <a:ext cx="2281579" cy="3857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51934"/>
                </a:solidFill>
                <a:effectLst/>
                <a:uLnTx/>
                <a:uFillTx/>
                <a:latin typeface="Calibri"/>
                <a:ea typeface="+mn-ea"/>
                <a:cs typeface="+mn-cs"/>
              </a:rPr>
              <a:t>Takeaways</a:t>
            </a:r>
          </a:p>
        </p:txBody>
      </p:sp>
      <p:sp>
        <p:nvSpPr>
          <p:cNvPr id="3" name="Rectangle 2">
            <a:extLst>
              <a:ext uri="{FF2B5EF4-FFF2-40B4-BE49-F238E27FC236}">
                <a16:creationId xmlns:a16="http://schemas.microsoft.com/office/drawing/2014/main" id="{1893547A-59E3-4C5B-836B-AABBCC551B35}"/>
              </a:ext>
            </a:extLst>
          </p:cNvPr>
          <p:cNvSpPr/>
          <p:nvPr/>
        </p:nvSpPr>
        <p:spPr>
          <a:xfrm>
            <a:off x="9507538" y="2594626"/>
            <a:ext cx="2342347" cy="356646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94400" marR="0" lvl="1" indent="-1296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Since last week, additional 7 School Districts submitted budgets for testing</a:t>
            </a:r>
          </a:p>
          <a:p>
            <a:pPr marL="194400" marR="0" lvl="1" indent="-1296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Responses were fielded from additional 2 School Districts</a:t>
            </a:r>
          </a:p>
          <a:p>
            <a:pPr marL="194400" marR="0" lvl="1" indent="-1296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ike last week a total of 19% of students across KS attend School Districts that have not responded (11%) or are not interested (8%)</a:t>
            </a:r>
          </a:p>
        </p:txBody>
      </p:sp>
      <p:cxnSp>
        <p:nvCxnSpPr>
          <p:cNvPr id="123" name="Straight Connector 122">
            <a:extLst>
              <a:ext uri="{FF2B5EF4-FFF2-40B4-BE49-F238E27FC236}">
                <a16:creationId xmlns:a16="http://schemas.microsoft.com/office/drawing/2014/main" id="{CA3E30AF-E68F-4AC6-83C4-506265A3C2DC}"/>
              </a:ext>
            </a:extLst>
          </p:cNvPr>
          <p:cNvCxnSpPr/>
          <p:nvPr>
            <p:custDataLst>
              <p:tags r:id="rId24"/>
            </p:custDataLst>
          </p:nvPr>
        </p:nvCxnSpPr>
        <p:spPr bwMode="gray">
          <a:xfrm>
            <a:off x="6334125" y="3971925"/>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57AD4641-7A77-491D-AD6E-215C57C8C6B7}"/>
              </a:ext>
            </a:extLst>
          </p:cNvPr>
          <p:cNvCxnSpPr/>
          <p:nvPr>
            <p:custDataLst>
              <p:tags r:id="rId25"/>
            </p:custDataLst>
          </p:nvPr>
        </p:nvCxnSpPr>
        <p:spPr bwMode="gray">
          <a:xfrm>
            <a:off x="5487988" y="4505325"/>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00B0D19A-942B-4DE5-A79B-B60C331F26A7}"/>
              </a:ext>
            </a:extLst>
          </p:cNvPr>
          <p:cNvCxnSpPr/>
          <p:nvPr>
            <p:custDataLst>
              <p:tags r:id="rId26"/>
            </p:custDataLst>
          </p:nvPr>
        </p:nvCxnSpPr>
        <p:spPr bwMode="gray">
          <a:xfrm>
            <a:off x="7178675" y="3294063"/>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65CB63B6-8C15-4211-9FFA-2F122FA1328E}"/>
              </a:ext>
            </a:extLst>
          </p:cNvPr>
          <p:cNvCxnSpPr/>
          <p:nvPr>
            <p:custDataLst>
              <p:tags r:id="rId27"/>
            </p:custDataLst>
          </p:nvPr>
        </p:nvCxnSpPr>
        <p:spPr bwMode="gray">
          <a:xfrm>
            <a:off x="8024813" y="2814638"/>
            <a:ext cx="315913" cy="0"/>
          </a:xfrm>
          <a:prstGeom prst="line">
            <a:avLst/>
          </a:prstGeom>
          <a:ln w="3175" cap="flat" cmpd="sng" algn="ctr">
            <a:solidFill>
              <a:srgbClr val="ADADAD"/>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90" name="Chart 89">
            <a:extLst>
              <a:ext uri="{FF2B5EF4-FFF2-40B4-BE49-F238E27FC236}">
                <a16:creationId xmlns:a16="http://schemas.microsoft.com/office/drawing/2014/main" id="{3F1F3674-AD5C-4421-B2C9-B8573400018F}"/>
              </a:ext>
            </a:extLst>
          </p:cNvPr>
          <p:cNvGraphicFramePr/>
          <p:nvPr>
            <p:custDataLst>
              <p:tags r:id="rId28"/>
            </p:custDataLst>
          </p:nvPr>
        </p:nvGraphicFramePr>
        <p:xfrm>
          <a:off x="4718050" y="2732088"/>
          <a:ext cx="4394200" cy="2133600"/>
        </p:xfrm>
        <a:graphic>
          <a:graphicData uri="http://schemas.openxmlformats.org/drawingml/2006/chart">
            <c:chart xmlns:c="http://schemas.openxmlformats.org/drawingml/2006/chart" xmlns:r="http://schemas.openxmlformats.org/officeDocument/2006/relationships" r:id="rId50"/>
          </a:graphicData>
        </a:graphic>
      </p:graphicFrame>
      <p:sp useBgFill="1">
        <p:nvSpPr>
          <p:cNvPr id="226" name="Freeform: Shape 225">
            <a:extLst>
              <a:ext uri="{FF2B5EF4-FFF2-40B4-BE49-F238E27FC236}">
                <a16:creationId xmlns:a16="http://schemas.microsoft.com/office/drawing/2014/main" id="{F47B92D0-2838-4007-886C-3E0917C3E1A5}"/>
              </a:ext>
            </a:extLst>
          </p:cNvPr>
          <p:cNvSpPr/>
          <p:nvPr>
            <p:custDataLst>
              <p:tags r:id="rId29"/>
            </p:custDataLst>
          </p:nvPr>
        </p:nvSpPr>
        <p:spPr bwMode="gray">
          <a:xfrm>
            <a:off x="4908550" y="4532313"/>
            <a:ext cx="628651" cy="227013"/>
          </a:xfrm>
          <a:custGeom>
            <a:avLst/>
            <a:gdLst/>
            <a:ahLst/>
            <a:cxnLst/>
            <a:rect l="0" t="0" r="0" b="0"/>
            <a:pathLst>
              <a:path w="628651" h="227013">
                <a:moveTo>
                  <a:pt x="0" y="169862"/>
                </a:moveTo>
                <a:lnTo>
                  <a:pt x="628650" y="0"/>
                </a:lnTo>
                <a:lnTo>
                  <a:pt x="628650" y="57150"/>
                </a:lnTo>
                <a:lnTo>
                  <a:pt x="0" y="227012"/>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useBgFill="1">
        <p:nvSpPr>
          <p:cNvPr id="229" name="Freeform: Shape 228">
            <a:extLst>
              <a:ext uri="{FF2B5EF4-FFF2-40B4-BE49-F238E27FC236}">
                <a16:creationId xmlns:a16="http://schemas.microsoft.com/office/drawing/2014/main" id="{A3FC90C9-E825-4042-94CD-24D75C29A8E2}"/>
              </a:ext>
            </a:extLst>
          </p:cNvPr>
          <p:cNvSpPr/>
          <p:nvPr>
            <p:custDataLst>
              <p:tags r:id="rId30"/>
            </p:custDataLst>
          </p:nvPr>
        </p:nvSpPr>
        <p:spPr bwMode="gray">
          <a:xfrm>
            <a:off x="8291513" y="4532313"/>
            <a:ext cx="628651" cy="227013"/>
          </a:xfrm>
          <a:custGeom>
            <a:avLst/>
            <a:gdLst/>
            <a:ahLst/>
            <a:cxnLst/>
            <a:rect l="0" t="0" r="0" b="0"/>
            <a:pathLst>
              <a:path w="628651" h="227013">
                <a:moveTo>
                  <a:pt x="0" y="169862"/>
                </a:moveTo>
                <a:lnTo>
                  <a:pt x="628650" y="0"/>
                </a:lnTo>
                <a:lnTo>
                  <a:pt x="628650" y="57150"/>
                </a:lnTo>
                <a:lnTo>
                  <a:pt x="0" y="227012"/>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227" name="Freeform: Shape 226">
            <a:extLst>
              <a:ext uri="{FF2B5EF4-FFF2-40B4-BE49-F238E27FC236}">
                <a16:creationId xmlns:a16="http://schemas.microsoft.com/office/drawing/2014/main" id="{56D0601A-FF78-4113-B232-568C78FB5241}"/>
              </a:ext>
            </a:extLst>
          </p:cNvPr>
          <p:cNvSpPr/>
          <p:nvPr>
            <p:custDataLst>
              <p:tags r:id="rId31"/>
            </p:custDataLst>
          </p:nvPr>
        </p:nvSpPr>
        <p:spPr bwMode="gray">
          <a:xfrm>
            <a:off x="8291513" y="453231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Shape 30">
            <a:extLst>
              <a:ext uri="{FF2B5EF4-FFF2-40B4-BE49-F238E27FC236}">
                <a16:creationId xmlns:a16="http://schemas.microsoft.com/office/drawing/2014/main" id="{A25E9F78-3B75-4D34-B927-CCE3A2B4C1AF}"/>
              </a:ext>
            </a:extLst>
          </p:cNvPr>
          <p:cNvSpPr/>
          <p:nvPr>
            <p:custDataLst>
              <p:tags r:id="rId32"/>
            </p:custDataLst>
          </p:nvPr>
        </p:nvSpPr>
        <p:spPr bwMode="gray">
          <a:xfrm>
            <a:off x="4908550" y="453231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4" name="Freeform: Shape 223">
            <a:extLst>
              <a:ext uri="{FF2B5EF4-FFF2-40B4-BE49-F238E27FC236}">
                <a16:creationId xmlns:a16="http://schemas.microsoft.com/office/drawing/2014/main" id="{DCFF76B0-DC70-416E-BBE9-7BBAC62D1D70}"/>
              </a:ext>
            </a:extLst>
          </p:cNvPr>
          <p:cNvSpPr/>
          <p:nvPr>
            <p:custDataLst>
              <p:tags r:id="rId33"/>
            </p:custDataLst>
          </p:nvPr>
        </p:nvSpPr>
        <p:spPr bwMode="gray">
          <a:xfrm>
            <a:off x="4908550" y="458946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28" name="Freeform: Shape 227">
            <a:extLst>
              <a:ext uri="{FF2B5EF4-FFF2-40B4-BE49-F238E27FC236}">
                <a16:creationId xmlns:a16="http://schemas.microsoft.com/office/drawing/2014/main" id="{BDEC9370-4880-4F33-BB6D-973EF2EA354A}"/>
              </a:ext>
            </a:extLst>
          </p:cNvPr>
          <p:cNvSpPr/>
          <p:nvPr>
            <p:custDataLst>
              <p:tags r:id="rId34"/>
            </p:custDataLst>
          </p:nvPr>
        </p:nvSpPr>
        <p:spPr bwMode="gray">
          <a:xfrm>
            <a:off x="8291513" y="4589463"/>
            <a:ext cx="628651" cy="169863"/>
          </a:xfrm>
          <a:custGeom>
            <a:avLst/>
            <a:gdLst/>
            <a:ahLst/>
            <a:cxnLst/>
            <a:rect l="0" t="0" r="0" b="0"/>
            <a:pathLst>
              <a:path w="628651" h="169863">
                <a:moveTo>
                  <a:pt x="0" y="169862"/>
                </a:moveTo>
                <a:lnTo>
                  <a:pt x="628650" y="0"/>
                </a:lnTo>
              </a:path>
            </a:pathLst>
          </a:custGeom>
          <a:ln w="9525" cap="rnd"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239" name="Text Placeholder 3">
            <a:extLst>
              <a:ext uri="{FF2B5EF4-FFF2-40B4-BE49-F238E27FC236}">
                <a16:creationId xmlns:a16="http://schemas.microsoft.com/office/drawing/2014/main" id="{069D1DB5-9FE6-4FB3-B87C-1FEB631FC909}"/>
              </a:ext>
            </a:extLst>
          </p:cNvPr>
          <p:cNvSpPr>
            <a:spLocks noGrp="1"/>
          </p:cNvSpPr>
          <p:nvPr>
            <p:custDataLst>
              <p:tags r:id="rId35"/>
            </p:custDataLst>
          </p:nvPr>
        </p:nvSpPr>
        <p:spPr bwMode="gray">
          <a:xfrm>
            <a:off x="8459788" y="2571750"/>
            <a:ext cx="29368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B8D867E9-D36D-4B32-8886-854578ABC6F3}" type="datetime'''''''''''''''''''''''''4''''''''''''''''91'">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491</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28" name="Text Placeholder 3">
            <a:extLst>
              <a:ext uri="{FF2B5EF4-FFF2-40B4-BE49-F238E27FC236}">
                <a16:creationId xmlns:a16="http://schemas.microsoft.com/office/drawing/2014/main" id="{65E3C3BB-1763-4DB4-91B6-9FB62794E612}"/>
              </a:ext>
            </a:extLst>
          </p:cNvPr>
          <p:cNvSpPr>
            <a:spLocks noGrp="1"/>
          </p:cNvSpPr>
          <p:nvPr>
            <p:custDataLst>
              <p:tags r:id="rId36"/>
            </p:custDataLst>
          </p:nvPr>
        </p:nvSpPr>
        <p:spPr bwMode="gray">
          <a:xfrm>
            <a:off x="6600825" y="4916488"/>
            <a:ext cx="625475" cy="4349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597DDEA3-4911-4DDA-8B82-027D3FF28500}" type="datetime'N''''o'''''''''' ''re''''s''''p''''''''o''''n''s''''e'''">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o response</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83" name="Text Placeholder 3">
            <a:extLst>
              <a:ext uri="{FF2B5EF4-FFF2-40B4-BE49-F238E27FC236}">
                <a16:creationId xmlns:a16="http://schemas.microsoft.com/office/drawing/2014/main" id="{8675743F-2937-454B-836C-B17E5DF193B2}"/>
              </a:ext>
            </a:extLst>
          </p:cNvPr>
          <p:cNvSpPr>
            <a:spLocks noGrp="1"/>
          </p:cNvSpPr>
          <p:nvPr>
            <p:custDataLst>
              <p:tags r:id="rId37"/>
            </p:custDataLst>
          </p:nvPr>
        </p:nvSpPr>
        <p:spPr bwMode="gray">
          <a:xfrm>
            <a:off x="5008563" y="4425950"/>
            <a:ext cx="428625" cy="434975"/>
          </a:xfrm>
          <a:prstGeom prst="rect">
            <a:avLst/>
          </a:prstGeom>
          <a:solidFill>
            <a:srgbClr val="051934"/>
          </a:solidFill>
          <a:ln>
            <a:noFill/>
          </a:ln>
          <a:effec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E215337A-ED2A-4104-B3AC-7BE89DF98454}" type="datetime'''''''3''''''''5''''''9'''''''''''''''''''''''">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59</a:t>
            </a:fld>
            <a:b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fld id="{1900990A-7755-47BC-80EA-896FEA820805}" type="datetime'''''''''''''''''7''''''''''''''''''''3''%'''''''''''''''">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73%</a:t>
            </a:fld>
            <a:r>
              <a:rPr kumimoji="0" lang="en-US" sz="1300" b="0" i="0" u="none" strike="noStrike" kern="1200" cap="none" spc="0" normalizeH="0" baseline="0" noProof="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27" name="Text Placeholder 3">
            <a:extLst>
              <a:ext uri="{FF2B5EF4-FFF2-40B4-BE49-F238E27FC236}">
                <a16:creationId xmlns:a16="http://schemas.microsoft.com/office/drawing/2014/main" id="{37F71917-A465-46A1-9FDA-D6785717F6F8}"/>
              </a:ext>
            </a:extLst>
          </p:cNvPr>
          <p:cNvSpPr>
            <a:spLocks noGrp="1"/>
          </p:cNvSpPr>
          <p:nvPr>
            <p:custDataLst>
              <p:tags r:id="rId38"/>
            </p:custDataLst>
          </p:nvPr>
        </p:nvSpPr>
        <p:spPr bwMode="gray">
          <a:xfrm>
            <a:off x="4806949" y="4916488"/>
            <a:ext cx="833438" cy="6524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872080A9-F2F9-4D0D-9E2D-BC16F82CFB23}" type="datetime'Drafte''''''d'','' s''ub''m''i''''tted'', or a''ppro''ve''d'''">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Drafted, submitted, or approved</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37" name="Text Placeholder 3">
            <a:extLst>
              <a:ext uri="{FF2B5EF4-FFF2-40B4-BE49-F238E27FC236}">
                <a16:creationId xmlns:a16="http://schemas.microsoft.com/office/drawing/2014/main" id="{7A902C94-2B7B-44A4-8E4C-C8ABF263AD03}"/>
              </a:ext>
            </a:extLst>
          </p:cNvPr>
          <p:cNvSpPr>
            <a:spLocks noGrp="1"/>
          </p:cNvSpPr>
          <p:nvPr>
            <p:custDataLst>
              <p:tags r:id="rId39"/>
            </p:custDataLst>
          </p:nvPr>
        </p:nvSpPr>
        <p:spPr bwMode="gray">
          <a:xfrm>
            <a:off x="5897563" y="4021138"/>
            <a:ext cx="344488"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EF402070-ACC6-457D-A8E4-90FE1E815DFE}" type="datetime'''''''''''''''''''''''''''''''''''''''''''''''42'''''''''''''">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42</a:t>
            </a:fld>
            <a:b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fld id="{D17E7D3E-427F-4D8F-A349-8E22115D1653}" type="datetime'''''''''''''''''''''''''''''''''''''''''''''8''''%'''''''">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8%</a:t>
            </a:fld>
            <a:r>
              <a:rPr kumimoji="0" lang="en-US" altLang="en-US" sz="1300" b="0" i="0" u="none" strike="noStrike" kern="1200" cap="none" spc="0" normalizeH="0" baseline="0" noProof="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26" name="Text Placeholder 3">
            <a:extLst>
              <a:ext uri="{FF2B5EF4-FFF2-40B4-BE49-F238E27FC236}">
                <a16:creationId xmlns:a16="http://schemas.microsoft.com/office/drawing/2014/main" id="{BC754CF5-9698-444F-9692-A45C6FE87CD8}"/>
              </a:ext>
            </a:extLst>
          </p:cNvPr>
          <p:cNvSpPr>
            <a:spLocks noGrp="1"/>
          </p:cNvSpPr>
          <p:nvPr>
            <p:custDataLst>
              <p:tags r:id="rId40"/>
            </p:custDataLst>
          </p:nvPr>
        </p:nvSpPr>
        <p:spPr bwMode="gray">
          <a:xfrm>
            <a:off x="5719763" y="4916488"/>
            <a:ext cx="70008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FFFAB455-2275-40E3-998E-32EA68AFC310}" type="datetime'''''I''''''n''''''t''''e''r''''''''''e''''st''ed'''''''''''">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Interested</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25" name="Text Placeholder 3">
            <a:extLst>
              <a:ext uri="{FF2B5EF4-FFF2-40B4-BE49-F238E27FC236}">
                <a16:creationId xmlns:a16="http://schemas.microsoft.com/office/drawing/2014/main" id="{3C27A480-19EA-40E9-82AC-4245869448A3}"/>
              </a:ext>
            </a:extLst>
          </p:cNvPr>
          <p:cNvSpPr>
            <a:spLocks noGrp="1"/>
          </p:cNvSpPr>
          <p:nvPr>
            <p:custDataLst>
              <p:tags r:id="rId41"/>
            </p:custDataLst>
          </p:nvPr>
        </p:nvSpPr>
        <p:spPr bwMode="gray">
          <a:xfrm>
            <a:off x="6699250" y="3414713"/>
            <a:ext cx="428625"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F71AB080-971A-437F-A763-37EADA2F4841}" type="datetime'5''''''''''''''''''''''''3'''''''''''''''''''''''''">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53</a:t>
            </a:fld>
            <a:b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t>(</a:t>
            </a:r>
            <a:fld id="{7512A7F6-3ADD-412C-B8C7-AB87554F9FC8}" type="datetime'''''''11''''''''''''%'">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11%</a:t>
            </a:fld>
            <a: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238" name="Text Placeholder 3">
            <a:extLst>
              <a:ext uri="{FF2B5EF4-FFF2-40B4-BE49-F238E27FC236}">
                <a16:creationId xmlns:a16="http://schemas.microsoft.com/office/drawing/2014/main" id="{ACAA5B9C-9552-43F3-8A73-4507060707E7}"/>
              </a:ext>
            </a:extLst>
          </p:cNvPr>
          <p:cNvSpPr>
            <a:spLocks noGrp="1"/>
          </p:cNvSpPr>
          <p:nvPr>
            <p:custDataLst>
              <p:tags r:id="rId42"/>
            </p:custDataLst>
          </p:nvPr>
        </p:nvSpPr>
        <p:spPr bwMode="gray">
          <a:xfrm>
            <a:off x="7588250" y="2836863"/>
            <a:ext cx="344488" cy="434975"/>
          </a:xfrm>
          <a:prstGeom prst="rect">
            <a:avLst/>
          </a:prstGeom>
          <a:noFill/>
          <a:ln>
            <a:noFill/>
          </a:ln>
          <a:effectLst/>
          <a:extLst>
            <a:ext uri="{909E8E84-426E-40DD-AFC4-6F175D3DCCD1}">
              <a14:hiddenFill xmlns:a14="http://schemas.microsoft.com/office/drawing/2010/main">
                <a:solidFill>
                  <a:srgbClr val="051934"/>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F3348BB5-B6F5-47E1-8011-2463960AFC2D}" type="datetime'''''''''''''''''''''''''''''''''3''''''''''''''7'''''">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7</a:t>
            </a:fld>
            <a:b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br>
            <a: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t>(</a:t>
            </a:r>
            <a:fld id="{6392F548-AC65-480A-B389-A8095969FCE4}" type="datetime'''''''''''''''''''8''%'''''''''''''''''''''''''">
              <a:rPr kumimoji="0" lang="en-US" altLang="en-US" sz="1300" b="0" i="0" u="none" strike="noStrike" kern="1200" cap="none" spc="0" normalizeH="0" baseline="0" noProof="0" smtClean="0">
                <a:ln>
                  <a:noFill/>
                </a:ln>
                <a:solidFill>
                  <a:prstClr val="white"/>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8%</a:t>
            </a:fld>
            <a:r>
              <a:rPr kumimoji="0" lang="en-US" altLang="en-US" sz="1300" b="0" i="0" u="none" strike="noStrike" kern="1200" cap="none" spc="0" normalizeH="0" baseline="0" noProof="0" dirty="0">
                <a:ln>
                  <a:noFill/>
                </a:ln>
                <a:solidFill>
                  <a:prstClr val="white"/>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white"/>
              </a:solidFill>
              <a:effectLst/>
              <a:uLnTx/>
              <a:uFillTx/>
              <a:latin typeface="Calibri"/>
              <a:ea typeface="+mn-ea"/>
              <a:cs typeface="+mn-cs"/>
              <a:sym typeface="+mn-lt"/>
            </a:endParaRPr>
          </a:p>
        </p:txBody>
      </p:sp>
      <p:sp>
        <p:nvSpPr>
          <p:cNvPr id="129" name="Text Placeholder 3">
            <a:extLst>
              <a:ext uri="{FF2B5EF4-FFF2-40B4-BE49-F238E27FC236}">
                <a16:creationId xmlns:a16="http://schemas.microsoft.com/office/drawing/2014/main" id="{BAB2F812-4587-4CE2-B462-972E67BE49E6}"/>
              </a:ext>
            </a:extLst>
          </p:cNvPr>
          <p:cNvSpPr>
            <a:spLocks noGrp="1"/>
          </p:cNvSpPr>
          <p:nvPr>
            <p:custDataLst>
              <p:tags r:id="rId43"/>
            </p:custDataLst>
          </p:nvPr>
        </p:nvSpPr>
        <p:spPr bwMode="gray">
          <a:xfrm>
            <a:off x="7380288" y="4916488"/>
            <a:ext cx="760413"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AF545E5B-AA8A-468B-9E6C-E75B6C508DA3}" type="datetime'N''''o'' ''in''''''t''''e''r''''''''e''''''''st'''''''">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No interest</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130" name="Text Placeholder 3">
            <a:extLst>
              <a:ext uri="{FF2B5EF4-FFF2-40B4-BE49-F238E27FC236}">
                <a16:creationId xmlns:a16="http://schemas.microsoft.com/office/drawing/2014/main" id="{183DC2DC-4E7F-4157-8735-46F37DBC91AF}"/>
              </a:ext>
            </a:extLst>
          </p:cNvPr>
          <p:cNvSpPr>
            <a:spLocks noGrp="1"/>
          </p:cNvSpPr>
          <p:nvPr>
            <p:custDataLst>
              <p:tags r:id="rId44"/>
            </p:custDataLst>
          </p:nvPr>
        </p:nvSpPr>
        <p:spPr bwMode="gray">
          <a:xfrm>
            <a:off x="8437563" y="4916488"/>
            <a:ext cx="338138"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726340D5-9FB8-4747-BE00-75998703537F}" type="datetime'''''T''''''''''''''o''''''''''''''t''''''al'''''''''''">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Total</a:t>
            </a:fld>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36" name="Text Placeholder 3">
            <a:extLst>
              <a:ext uri="{FF2B5EF4-FFF2-40B4-BE49-F238E27FC236}">
                <a16:creationId xmlns:a16="http://schemas.microsoft.com/office/drawing/2014/main" id="{6D4326BD-6344-464F-9B14-19E0FB6C4A37}"/>
              </a:ext>
            </a:extLst>
          </p:cNvPr>
          <p:cNvSpPr>
            <a:spLocks noGrp="1"/>
          </p:cNvSpPr>
          <p:nvPr>
            <p:custDataLst>
              <p:tags r:id="rId45"/>
            </p:custDataLst>
          </p:nvPr>
        </p:nvSpPr>
        <p:spPr bwMode="gray">
          <a:xfrm>
            <a:off x="5008563" y="3990975"/>
            <a:ext cx="428625" cy="4349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a:lstStyle>
          <a:p>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fld id="{31169597-2D81-4226-B64B-BD92A16EDB78}" type="datetime'''''''''3''''''''''''5''''''''''9'''''''''''''''''''''">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359</a:t>
            </a:fld>
            <a:b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br>
            <a: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t>(</a:t>
            </a:r>
            <a:fld id="{8C7B2127-810C-45D0-9194-4D4708B29F02}" type="datetime'''''''''''''''''''''''7''''''''''''''3''''''''''''%'''''">
              <a:rPr kumimoji="0" lang="en-US" altLang="en-US" sz="13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ct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t>73%</a:t>
            </a:fld>
            <a:r>
              <a:rPr kumimoji="0" lang="en-US" altLang="en-US" sz="1300" b="0" i="0" u="none" strike="noStrike" kern="1200" cap="none" spc="0" normalizeH="0" baseline="0" noProof="0">
                <a:ln>
                  <a:noFill/>
                </a:ln>
                <a:solidFill>
                  <a:prstClr val="black"/>
                </a:solidFill>
                <a:effectLst/>
                <a:uLnTx/>
                <a:uFillTx/>
                <a:latin typeface="Calibri"/>
                <a:ea typeface="+mn-ea"/>
                <a:cs typeface="+mn-cs"/>
                <a:sym typeface="+mn-lt"/>
              </a:rPr>
              <a:t>)</a:t>
            </a:r>
            <a:endParaRPr kumimoji="0" lang="en-US" sz="1300" b="0" i="0" u="none" strike="noStrike" kern="1200" cap="none" spc="0" normalizeH="0" baseline="0" noProof="0" dirty="0">
              <a:ln>
                <a:noFill/>
              </a:ln>
              <a:solidFill>
                <a:prstClr val="black"/>
              </a:solidFill>
              <a:effectLst/>
              <a:uLnTx/>
              <a:uFillTx/>
              <a:latin typeface="Calibri"/>
              <a:ea typeface="+mn-ea"/>
              <a:cs typeface="+mn-cs"/>
              <a:sym typeface="+mn-lt"/>
            </a:endParaRPr>
          </a:p>
        </p:txBody>
      </p:sp>
      <p:sp>
        <p:nvSpPr>
          <p:cNvPr id="271" name="ee4pFootnotes">
            <a:extLst>
              <a:ext uri="{FF2B5EF4-FFF2-40B4-BE49-F238E27FC236}">
                <a16:creationId xmlns:a16="http://schemas.microsoft.com/office/drawing/2014/main" id="{3F69DC58-B19A-4C43-9D28-5F80A733DCD4}"/>
              </a:ext>
            </a:extLst>
          </p:cNvPr>
          <p:cNvSpPr>
            <a:spLocks noChangeArrowheads="1"/>
          </p:cNvSpPr>
          <p:nvPr/>
        </p:nvSpPr>
        <p:spPr bwMode="auto">
          <a:xfrm>
            <a:off x="644525" y="6317864"/>
            <a:ext cx="10192895"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50000"/>
                  </a:prstClr>
                </a:solidFill>
                <a:effectLst/>
                <a:uLnTx/>
                <a:uFillTx/>
                <a:latin typeface="Calibri"/>
                <a:ea typeface="+mn-ea"/>
                <a:cs typeface="+mn-cs"/>
                <a:sym typeface="+mn-lt"/>
              </a:rPr>
              <a:t>1. Total child numbers only include Public School children (286 schools), excluding ~26K children attending private schools; Note: Change in responses metrics may not sum to 0 due to rounding.</a:t>
            </a:r>
          </a:p>
        </p:txBody>
      </p:sp>
      <p:sp>
        <p:nvSpPr>
          <p:cNvPr id="117" name="Rectangle 116">
            <a:extLst>
              <a:ext uri="{FF2B5EF4-FFF2-40B4-BE49-F238E27FC236}">
                <a16:creationId xmlns:a16="http://schemas.microsoft.com/office/drawing/2014/main" id="{3B86A25D-38A8-458F-AC7F-6AEE4867D8DA}"/>
              </a:ext>
            </a:extLst>
          </p:cNvPr>
          <p:cNvSpPr/>
          <p:nvPr/>
        </p:nvSpPr>
        <p:spPr>
          <a:xfrm>
            <a:off x="8996977" y="1483212"/>
            <a:ext cx="528637" cy="457199"/>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Calibri"/>
                <a:ea typeface="+mn-ea"/>
                <a:cs typeface="+mn-cs"/>
              </a:rPr>
              <a:t>+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Calibri"/>
                <a:ea typeface="+mn-ea"/>
                <a:cs typeface="+mn-cs"/>
              </a:rPr>
              <a:t>+</a:t>
            </a:r>
            <a:r>
              <a:rPr kumimoji="0" lang="en-US" sz="1200" b="0" i="0" u="none" strike="noStrike" kern="1200" cap="none" spc="0" normalizeH="0" baseline="0" noProof="0" dirty="0" err="1">
                <a:ln>
                  <a:noFill/>
                </a:ln>
                <a:solidFill>
                  <a:srgbClr val="575757"/>
                </a:solidFill>
                <a:effectLst/>
                <a:uLnTx/>
                <a:uFillTx/>
                <a:latin typeface="Calibri"/>
                <a:ea typeface="+mn-ea"/>
                <a:cs typeface="+mn-cs"/>
              </a:rPr>
              <a:t>Xpp</a:t>
            </a:r>
            <a:endParaRPr kumimoji="0" lang="en-US" sz="1200" b="0" i="0" u="none" strike="noStrike" kern="1200" cap="none" spc="0" normalizeH="0" baseline="0" noProof="0" dirty="0">
              <a:ln>
                <a:noFill/>
              </a:ln>
              <a:solidFill>
                <a:srgbClr val="575757"/>
              </a:solidFill>
              <a:effectLst/>
              <a:uLnTx/>
              <a:uFillTx/>
              <a:latin typeface="Calibri"/>
              <a:ea typeface="+mn-ea"/>
              <a:cs typeface="+mn-cs"/>
            </a:endParaRPr>
          </a:p>
        </p:txBody>
      </p:sp>
      <p:sp>
        <p:nvSpPr>
          <p:cNvPr id="118" name="Rectangle 117">
            <a:extLst>
              <a:ext uri="{FF2B5EF4-FFF2-40B4-BE49-F238E27FC236}">
                <a16:creationId xmlns:a16="http://schemas.microsoft.com/office/drawing/2014/main" id="{5D12B1FC-9C61-404A-8CF4-BC11E355691D}"/>
              </a:ext>
            </a:extLst>
          </p:cNvPr>
          <p:cNvSpPr/>
          <p:nvPr/>
        </p:nvSpPr>
        <p:spPr>
          <a:xfrm>
            <a:off x="9483345" y="1483851"/>
            <a:ext cx="2391404" cy="4571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Calibri"/>
                <a:ea typeface="+mn-ea"/>
                <a:cs typeface="+mn-cs"/>
              </a:rPr>
              <a:t>= WoW gross incr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75757"/>
                </a:solidFill>
                <a:effectLst/>
                <a:uLnTx/>
                <a:uFillTx/>
                <a:latin typeface="Calibri"/>
                <a:ea typeface="+mn-ea"/>
                <a:cs typeface="+mn-cs"/>
              </a:rPr>
              <a:t>= WoW percentage point increase</a:t>
            </a:r>
          </a:p>
        </p:txBody>
      </p:sp>
      <p:sp>
        <p:nvSpPr>
          <p:cNvPr id="91" name="Rectangle 90">
            <a:extLst>
              <a:ext uri="{FF2B5EF4-FFF2-40B4-BE49-F238E27FC236}">
                <a16:creationId xmlns:a16="http://schemas.microsoft.com/office/drawing/2014/main" id="{F7D3E080-F45D-48DD-BF5D-83CAB9702AD1}"/>
              </a:ext>
            </a:extLst>
          </p:cNvPr>
          <p:cNvSpPr/>
          <p:nvPr/>
        </p:nvSpPr>
        <p:spPr>
          <a:xfrm>
            <a:off x="459317" y="5581652"/>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2pp</a:t>
            </a:r>
          </a:p>
        </p:txBody>
      </p:sp>
      <p:sp>
        <p:nvSpPr>
          <p:cNvPr id="92" name="Rectangle 91">
            <a:extLst>
              <a:ext uri="{FF2B5EF4-FFF2-40B4-BE49-F238E27FC236}">
                <a16:creationId xmlns:a16="http://schemas.microsoft.com/office/drawing/2014/main" id="{AB0EFF7A-F581-4EDF-A25B-6C2B61DE9B46}"/>
              </a:ext>
            </a:extLst>
          </p:cNvPr>
          <p:cNvSpPr/>
          <p:nvPr/>
        </p:nvSpPr>
        <p:spPr>
          <a:xfrm>
            <a:off x="1321346" y="5581652"/>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2pp</a:t>
            </a:r>
          </a:p>
        </p:txBody>
      </p:sp>
      <p:sp>
        <p:nvSpPr>
          <p:cNvPr id="93" name="Rectangle 92">
            <a:extLst>
              <a:ext uri="{FF2B5EF4-FFF2-40B4-BE49-F238E27FC236}">
                <a16:creationId xmlns:a16="http://schemas.microsoft.com/office/drawing/2014/main" id="{CC3B043D-D6F4-4A91-A6E5-71EBD40724F3}"/>
              </a:ext>
            </a:extLst>
          </p:cNvPr>
          <p:cNvSpPr/>
          <p:nvPr/>
        </p:nvSpPr>
        <p:spPr>
          <a:xfrm>
            <a:off x="2183375" y="5581652"/>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pp</a:t>
            </a:r>
          </a:p>
        </p:txBody>
      </p:sp>
      <p:sp>
        <p:nvSpPr>
          <p:cNvPr id="94" name="Rectangle 93">
            <a:extLst>
              <a:ext uri="{FF2B5EF4-FFF2-40B4-BE49-F238E27FC236}">
                <a16:creationId xmlns:a16="http://schemas.microsoft.com/office/drawing/2014/main" id="{D8E6CF5F-9F3A-4F3C-B6A3-309AF5D73AD7}"/>
              </a:ext>
            </a:extLst>
          </p:cNvPr>
          <p:cNvSpPr/>
          <p:nvPr/>
        </p:nvSpPr>
        <p:spPr>
          <a:xfrm>
            <a:off x="3045403" y="5581652"/>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pp</a:t>
            </a:r>
          </a:p>
        </p:txBody>
      </p:sp>
      <p:sp>
        <p:nvSpPr>
          <p:cNvPr id="95" name="Rectangle 94">
            <a:extLst>
              <a:ext uri="{FF2B5EF4-FFF2-40B4-BE49-F238E27FC236}">
                <a16:creationId xmlns:a16="http://schemas.microsoft.com/office/drawing/2014/main" id="{9CEA51FB-98B5-4A41-8261-1C864974D83B}"/>
              </a:ext>
            </a:extLst>
          </p:cNvPr>
          <p:cNvSpPr/>
          <p:nvPr/>
        </p:nvSpPr>
        <p:spPr>
          <a:xfrm>
            <a:off x="4965040" y="5579019"/>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2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0pp</a:t>
            </a:r>
          </a:p>
        </p:txBody>
      </p:sp>
      <p:sp>
        <p:nvSpPr>
          <p:cNvPr id="96" name="Rectangle 95">
            <a:extLst>
              <a:ext uri="{FF2B5EF4-FFF2-40B4-BE49-F238E27FC236}">
                <a16:creationId xmlns:a16="http://schemas.microsoft.com/office/drawing/2014/main" id="{187DB35B-70B3-4F21-B029-86B3DF9680AD}"/>
              </a:ext>
            </a:extLst>
          </p:cNvPr>
          <p:cNvSpPr/>
          <p:nvPr/>
        </p:nvSpPr>
        <p:spPr>
          <a:xfrm>
            <a:off x="5819512" y="5579019"/>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pp</a:t>
            </a:r>
          </a:p>
        </p:txBody>
      </p:sp>
      <p:sp>
        <p:nvSpPr>
          <p:cNvPr id="97" name="Rectangle 96">
            <a:extLst>
              <a:ext uri="{FF2B5EF4-FFF2-40B4-BE49-F238E27FC236}">
                <a16:creationId xmlns:a16="http://schemas.microsoft.com/office/drawing/2014/main" id="{0B26671F-1A2C-4C61-B703-ADFE8C423EF3}"/>
              </a:ext>
            </a:extLst>
          </p:cNvPr>
          <p:cNvSpPr/>
          <p:nvPr/>
        </p:nvSpPr>
        <p:spPr>
          <a:xfrm>
            <a:off x="6673984" y="5579019"/>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0pp</a:t>
            </a:r>
          </a:p>
        </p:txBody>
      </p:sp>
      <p:sp>
        <p:nvSpPr>
          <p:cNvPr id="98" name="Rectangle 97">
            <a:extLst>
              <a:ext uri="{FF2B5EF4-FFF2-40B4-BE49-F238E27FC236}">
                <a16:creationId xmlns:a16="http://schemas.microsoft.com/office/drawing/2014/main" id="{320344AC-D98E-4362-A83B-432639DA7452}"/>
              </a:ext>
            </a:extLst>
          </p:cNvPr>
          <p:cNvSpPr/>
          <p:nvPr/>
        </p:nvSpPr>
        <p:spPr>
          <a:xfrm>
            <a:off x="7528455" y="5579019"/>
            <a:ext cx="528637" cy="457199"/>
          </a:xfrm>
          <a:prstGeom prst="rect">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1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51934"/>
                </a:solidFill>
                <a:effectLst/>
                <a:uLnTx/>
                <a:uFillTx/>
                <a:latin typeface="Calibri"/>
                <a:ea typeface="+mn-ea"/>
                <a:cs typeface="+mn-cs"/>
              </a:rPr>
              <a:t>+0pp</a:t>
            </a:r>
          </a:p>
        </p:txBody>
      </p:sp>
    </p:spTree>
    <p:extLst>
      <p:ext uri="{BB962C8B-B14F-4D97-AF65-F5344CB8AC3E}">
        <p14:creationId xmlns:p14="http://schemas.microsoft.com/office/powerpoint/2010/main" val="575156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1A459D-9628-4022-B6B3-3D5294F31C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03"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AB1A459D-9628-4022-B6B3-3D5294F31C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8E13106-EB41-46D4-8723-5A8452B63105}"/>
              </a:ext>
            </a:extLst>
          </p:cNvPr>
          <p:cNvSpPr>
            <a:spLocks noGrp="1"/>
          </p:cNvSpPr>
          <p:nvPr>
            <p:ph type="title"/>
          </p:nvPr>
        </p:nvSpPr>
        <p:spPr/>
        <p:txBody>
          <a:bodyPr vert="horz"/>
          <a:lstStyle/>
          <a:p>
            <a:r>
              <a:rPr lang="en-US" dirty="0">
                <a:solidFill>
                  <a:srgbClr val="EDAE1D"/>
                </a:solidFill>
              </a:rPr>
              <a:t>Testing |</a:t>
            </a:r>
            <a:r>
              <a:rPr lang="en-US" dirty="0"/>
              <a:t> School Districts' reporting on testing metrics</a:t>
            </a:r>
          </a:p>
        </p:txBody>
      </p:sp>
      <p:sp>
        <p:nvSpPr>
          <p:cNvPr id="9" name="Rectangle 8">
            <a:extLst>
              <a:ext uri="{FF2B5EF4-FFF2-40B4-BE49-F238E27FC236}">
                <a16:creationId xmlns:a16="http://schemas.microsoft.com/office/drawing/2014/main" id="{1EEBCEE3-A791-4FA0-A851-57CE676CAC14}"/>
              </a:ext>
            </a:extLst>
          </p:cNvPr>
          <p:cNvSpPr/>
          <p:nvPr/>
        </p:nvSpPr>
        <p:spPr>
          <a:xfrm>
            <a:off x="628650" y="3002443"/>
            <a:ext cx="1500733" cy="36693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PCR</a:t>
            </a:r>
          </a:p>
        </p:txBody>
      </p:sp>
      <p:sp>
        <p:nvSpPr>
          <p:cNvPr id="10" name="Rectangle 9">
            <a:extLst>
              <a:ext uri="{FF2B5EF4-FFF2-40B4-BE49-F238E27FC236}">
                <a16:creationId xmlns:a16="http://schemas.microsoft.com/office/drawing/2014/main" id="{99C11734-7816-4EC3-B236-F0790DE72EB1}"/>
              </a:ext>
            </a:extLst>
          </p:cNvPr>
          <p:cNvSpPr/>
          <p:nvPr/>
        </p:nvSpPr>
        <p:spPr>
          <a:xfrm>
            <a:off x="2449211" y="3002443"/>
            <a:ext cx="1500733" cy="36693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Antigen</a:t>
            </a:r>
          </a:p>
        </p:txBody>
      </p:sp>
      <p:sp>
        <p:nvSpPr>
          <p:cNvPr id="12" name="Oval 11">
            <a:extLst>
              <a:ext uri="{FF2B5EF4-FFF2-40B4-BE49-F238E27FC236}">
                <a16:creationId xmlns:a16="http://schemas.microsoft.com/office/drawing/2014/main" id="{287E8F1D-8EE8-4BAF-96D7-9C18EE6BFC37}"/>
              </a:ext>
            </a:extLst>
          </p:cNvPr>
          <p:cNvSpPr/>
          <p:nvPr/>
        </p:nvSpPr>
        <p:spPr>
          <a:xfrm>
            <a:off x="628650" y="3480242"/>
            <a:ext cx="1500733" cy="1500733"/>
          </a:xfrm>
          <a:prstGeom prst="ellipse">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5.6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28 districts</a:t>
            </a:r>
          </a:p>
        </p:txBody>
      </p:sp>
      <p:sp>
        <p:nvSpPr>
          <p:cNvPr id="13" name="Oval 12">
            <a:extLst>
              <a:ext uri="{FF2B5EF4-FFF2-40B4-BE49-F238E27FC236}">
                <a16:creationId xmlns:a16="http://schemas.microsoft.com/office/drawing/2014/main" id="{2295139F-BFD5-41B5-A244-AB134DB1EFC0}"/>
              </a:ext>
            </a:extLst>
          </p:cNvPr>
          <p:cNvSpPr/>
          <p:nvPr/>
        </p:nvSpPr>
        <p:spPr>
          <a:xfrm>
            <a:off x="2449211" y="3480242"/>
            <a:ext cx="1500733" cy="1500733"/>
          </a:xfrm>
          <a:prstGeom prst="ellipse">
            <a:avLst/>
          </a:prstGeom>
          <a:noFill/>
          <a:ln w="9525" cap="rnd" cmpd="sng" algn="ctr">
            <a:solidFill>
              <a:srgbClr val="051934"/>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8.6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96 districts</a:t>
            </a:r>
          </a:p>
        </p:txBody>
      </p:sp>
      <p:sp>
        <p:nvSpPr>
          <p:cNvPr id="15" name="Rectangle 14">
            <a:extLst>
              <a:ext uri="{FF2B5EF4-FFF2-40B4-BE49-F238E27FC236}">
                <a16:creationId xmlns:a16="http://schemas.microsoft.com/office/drawing/2014/main" id="{BB75A778-6E15-4D1E-ADED-126B79FE1FCB}"/>
              </a:ext>
            </a:extLst>
          </p:cNvPr>
          <p:cNvSpPr/>
          <p:nvPr/>
        </p:nvSpPr>
        <p:spPr>
          <a:xfrm>
            <a:off x="4275439" y="3002443"/>
            <a:ext cx="1820562" cy="2090846"/>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Total</a:t>
            </a:r>
          </a:p>
        </p:txBody>
      </p:sp>
      <p:sp>
        <p:nvSpPr>
          <p:cNvPr id="16" name="Oval 15">
            <a:extLst>
              <a:ext uri="{FF2B5EF4-FFF2-40B4-BE49-F238E27FC236}">
                <a16:creationId xmlns:a16="http://schemas.microsoft.com/office/drawing/2014/main" id="{25E73592-6F0E-48CE-89CB-EA9B23EFBBEE}"/>
              </a:ext>
            </a:extLst>
          </p:cNvPr>
          <p:cNvSpPr/>
          <p:nvPr/>
        </p:nvSpPr>
        <p:spPr>
          <a:xfrm>
            <a:off x="4423493" y="3480242"/>
            <a:ext cx="1500733" cy="1500733"/>
          </a:xfrm>
          <a:prstGeom prst="ellipse">
            <a:avLst/>
          </a:prstGeom>
          <a:solidFill>
            <a:srgbClr val="FFFFFF"/>
          </a:solidFill>
          <a:ln w="9525" cap="rnd" cmpd="sng" algn="ctr">
            <a:solidFill>
              <a:srgbClr val="05193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14.2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100 districts</a:t>
            </a:r>
          </a:p>
        </p:txBody>
      </p:sp>
      <p:sp>
        <p:nvSpPr>
          <p:cNvPr id="17" name="Rectangle 16">
            <a:extLst>
              <a:ext uri="{FF2B5EF4-FFF2-40B4-BE49-F238E27FC236}">
                <a16:creationId xmlns:a16="http://schemas.microsoft.com/office/drawing/2014/main" id="{8DA03447-9FEA-4FFE-A392-230906C82291}"/>
              </a:ext>
            </a:extLst>
          </p:cNvPr>
          <p:cNvSpPr/>
          <p:nvPr/>
        </p:nvSpPr>
        <p:spPr>
          <a:xfrm>
            <a:off x="628650" y="2083992"/>
            <a:ext cx="5467350" cy="4456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51934"/>
                </a:solidFill>
                <a:effectLst/>
                <a:uLnTx/>
                <a:uFillTx/>
                <a:latin typeface="Calibri"/>
                <a:ea typeface="+mn-ea"/>
                <a:cs typeface="+mn-cs"/>
              </a:rPr>
              <a:t>Tests conducted last wee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7F7F7F"/>
                </a:solidFill>
                <a:effectLst/>
                <a:uLnTx/>
                <a:uFillTx/>
                <a:latin typeface="Calibri"/>
                <a:ea typeface="+mn-ea"/>
                <a:cs typeface="+mn-cs"/>
              </a:rPr>
              <a:t>As of 9/16</a:t>
            </a:r>
          </a:p>
        </p:txBody>
      </p:sp>
      <p:grpSp>
        <p:nvGrpSpPr>
          <p:cNvPr id="18" name="Group 17">
            <a:extLst>
              <a:ext uri="{FF2B5EF4-FFF2-40B4-BE49-F238E27FC236}">
                <a16:creationId xmlns:a16="http://schemas.microsoft.com/office/drawing/2014/main" id="{20ADE095-CBD4-4AA5-8E25-F5C5A47E09C8}"/>
              </a:ext>
            </a:extLst>
          </p:cNvPr>
          <p:cNvGrpSpPr>
            <a:grpSpLocks noChangeAspect="1"/>
          </p:cNvGrpSpPr>
          <p:nvPr/>
        </p:nvGrpSpPr>
        <p:grpSpPr>
          <a:xfrm>
            <a:off x="3966676" y="4061460"/>
            <a:ext cx="306910" cy="306910"/>
            <a:chOff x="628650" y="1847850"/>
            <a:chExt cx="269875" cy="269875"/>
          </a:xfrm>
        </p:grpSpPr>
        <p:sp>
          <p:nvSpPr>
            <p:cNvPr id="19" name="Oval 8">
              <a:extLst>
                <a:ext uri="{FF2B5EF4-FFF2-40B4-BE49-F238E27FC236}">
                  <a16:creationId xmlns:a16="http://schemas.microsoft.com/office/drawing/2014/main" id="{9A39099B-04EA-4813-A9BB-5955E23FA6EB}"/>
                </a:ext>
              </a:extLst>
            </p:cNvPr>
            <p:cNvSpPr>
              <a:spLocks noChangeArrowheads="1"/>
            </p:cNvSpPr>
            <p:nvPr/>
          </p:nvSpPr>
          <p:spPr bwMode="auto">
            <a:xfrm>
              <a:off x="628650" y="1847850"/>
              <a:ext cx="269875" cy="269875"/>
            </a:xfrm>
            <a:prstGeom prst="ellipse">
              <a:avLst/>
            </a:prstGeom>
            <a:solidFill>
              <a:srgbClr val="051934">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0" name="Freeform 9">
              <a:extLst>
                <a:ext uri="{FF2B5EF4-FFF2-40B4-BE49-F238E27FC236}">
                  <a16:creationId xmlns:a16="http://schemas.microsoft.com/office/drawing/2014/main" id="{4945E2F6-627D-4ED1-96F3-C8FD91BD29FE}"/>
                </a:ext>
              </a:extLst>
            </p:cNvPr>
            <p:cNvSpPr>
              <a:spLocks noEditPoints="1"/>
            </p:cNvSpPr>
            <p:nvPr/>
          </p:nvSpPr>
          <p:spPr bwMode="auto">
            <a:xfrm>
              <a:off x="690562" y="1949450"/>
              <a:ext cx="146050" cy="66675"/>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rgbClr val="FFFFFF">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21" name="Group 20">
            <a:extLst>
              <a:ext uri="{FF2B5EF4-FFF2-40B4-BE49-F238E27FC236}">
                <a16:creationId xmlns:a16="http://schemas.microsoft.com/office/drawing/2014/main" id="{BEE5F46E-ED47-4DD4-A2F9-A4C70698C461}"/>
              </a:ext>
            </a:extLst>
          </p:cNvPr>
          <p:cNvGrpSpPr>
            <a:grpSpLocks noChangeAspect="1"/>
          </p:cNvGrpSpPr>
          <p:nvPr/>
        </p:nvGrpSpPr>
        <p:grpSpPr>
          <a:xfrm>
            <a:off x="2142102" y="4061460"/>
            <a:ext cx="306910" cy="306910"/>
            <a:chOff x="628650" y="1443038"/>
            <a:chExt cx="269875" cy="269875"/>
          </a:xfrm>
        </p:grpSpPr>
        <p:sp>
          <p:nvSpPr>
            <p:cNvPr id="22" name="Oval 21">
              <a:extLst>
                <a:ext uri="{FF2B5EF4-FFF2-40B4-BE49-F238E27FC236}">
                  <a16:creationId xmlns:a16="http://schemas.microsoft.com/office/drawing/2014/main" id="{BA1471FE-8FC3-4BE8-B29A-CE3141FC691D}"/>
                </a:ext>
              </a:extLst>
            </p:cNvPr>
            <p:cNvSpPr>
              <a:spLocks noChangeArrowheads="1"/>
            </p:cNvSpPr>
            <p:nvPr/>
          </p:nvSpPr>
          <p:spPr bwMode="auto">
            <a:xfrm>
              <a:off x="628650" y="1443038"/>
              <a:ext cx="269875" cy="269875"/>
            </a:xfrm>
            <a:prstGeom prst="ellipse">
              <a:avLst/>
            </a:prstGeom>
            <a:solidFill>
              <a:srgbClr val="051934">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3" name="Freeform 7">
              <a:extLst>
                <a:ext uri="{FF2B5EF4-FFF2-40B4-BE49-F238E27FC236}">
                  <a16:creationId xmlns:a16="http://schemas.microsoft.com/office/drawing/2014/main" id="{7E818EE3-11B9-4807-857B-4F67620A824B}"/>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8" name="Rectangle 27">
            <a:extLst>
              <a:ext uri="{FF2B5EF4-FFF2-40B4-BE49-F238E27FC236}">
                <a16:creationId xmlns:a16="http://schemas.microsoft.com/office/drawing/2014/main" id="{C9743E5C-BD52-4974-9847-E872B018C36E}"/>
              </a:ext>
            </a:extLst>
          </p:cNvPr>
          <p:cNvSpPr/>
          <p:nvPr/>
        </p:nvSpPr>
        <p:spPr>
          <a:xfrm>
            <a:off x="6419642" y="3002443"/>
            <a:ext cx="1500733" cy="366939"/>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9B2525"/>
                </a:solidFill>
                <a:effectLst/>
                <a:uLnTx/>
                <a:uFillTx/>
                <a:latin typeface="Calibri"/>
                <a:ea typeface="+mn-ea"/>
                <a:cs typeface="+mn-cs"/>
              </a:rPr>
              <a:t>Positives</a:t>
            </a:r>
          </a:p>
        </p:txBody>
      </p:sp>
      <p:sp>
        <p:nvSpPr>
          <p:cNvPr id="29" name="Oval 28">
            <a:extLst>
              <a:ext uri="{FF2B5EF4-FFF2-40B4-BE49-F238E27FC236}">
                <a16:creationId xmlns:a16="http://schemas.microsoft.com/office/drawing/2014/main" id="{4C16C20B-AB4A-401E-8C92-E7F4F269B11E}"/>
              </a:ext>
            </a:extLst>
          </p:cNvPr>
          <p:cNvSpPr/>
          <p:nvPr/>
        </p:nvSpPr>
        <p:spPr>
          <a:xfrm>
            <a:off x="6420860" y="3480242"/>
            <a:ext cx="1500733" cy="1500733"/>
          </a:xfrm>
          <a:prstGeom prst="ellipse">
            <a:avLst/>
          </a:prstGeom>
          <a:noFill/>
          <a:ln w="9525" cap="rnd" cmpd="sng" algn="ctr">
            <a:solidFill>
              <a:srgbClr val="9B2525"/>
            </a:solidFill>
            <a:prstDash val="solid"/>
            <a:round/>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0.8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Calibri"/>
                <a:ea typeface="+mn-ea"/>
                <a:cs typeface="+mn-cs"/>
              </a:rPr>
              <a:t>74 districts</a:t>
            </a:r>
          </a:p>
        </p:txBody>
      </p:sp>
      <p:grpSp>
        <p:nvGrpSpPr>
          <p:cNvPr id="30" name="Group 29">
            <a:extLst>
              <a:ext uri="{FF2B5EF4-FFF2-40B4-BE49-F238E27FC236}">
                <a16:creationId xmlns:a16="http://schemas.microsoft.com/office/drawing/2014/main" id="{A416FE9B-1940-4A17-B5E0-753329D778F6}"/>
              </a:ext>
            </a:extLst>
          </p:cNvPr>
          <p:cNvGrpSpPr>
            <a:grpSpLocks noChangeAspect="1"/>
          </p:cNvGrpSpPr>
          <p:nvPr/>
        </p:nvGrpSpPr>
        <p:grpSpPr>
          <a:xfrm>
            <a:off x="6096001" y="4061460"/>
            <a:ext cx="306910" cy="306910"/>
            <a:chOff x="982662" y="1847850"/>
            <a:chExt cx="269875" cy="269875"/>
          </a:xfrm>
        </p:grpSpPr>
        <p:sp>
          <p:nvSpPr>
            <p:cNvPr id="31" name="Oval 50">
              <a:extLst>
                <a:ext uri="{FF2B5EF4-FFF2-40B4-BE49-F238E27FC236}">
                  <a16:creationId xmlns:a16="http://schemas.microsoft.com/office/drawing/2014/main" id="{7F40FB91-A187-4BDC-9282-07AE3745E9CF}"/>
                </a:ext>
              </a:extLst>
            </p:cNvPr>
            <p:cNvSpPr>
              <a:spLocks noChangeArrowheads="1"/>
            </p:cNvSpPr>
            <p:nvPr/>
          </p:nvSpPr>
          <p:spPr bwMode="auto">
            <a:xfrm>
              <a:off x="982662" y="1847850"/>
              <a:ext cx="269875" cy="269875"/>
            </a:xfrm>
            <a:prstGeom prst="ellipse">
              <a:avLst/>
            </a:prstGeom>
            <a:solidFill>
              <a:srgbClr val="051934">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2" name="Freeform 51">
              <a:extLst>
                <a:ext uri="{FF2B5EF4-FFF2-40B4-BE49-F238E27FC236}">
                  <a16:creationId xmlns:a16="http://schemas.microsoft.com/office/drawing/2014/main" id="{7FC3F201-181A-4CC3-B342-655944069210}"/>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0" tIns="45720" rIns="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34" name="Group 33">
            <a:extLst>
              <a:ext uri="{FF2B5EF4-FFF2-40B4-BE49-F238E27FC236}">
                <a16:creationId xmlns:a16="http://schemas.microsoft.com/office/drawing/2014/main" id="{090CDE25-BDC4-4CE7-824B-F8F9E67008A8}"/>
              </a:ext>
            </a:extLst>
          </p:cNvPr>
          <p:cNvGrpSpPr/>
          <p:nvPr/>
        </p:nvGrpSpPr>
        <p:grpSpPr>
          <a:xfrm>
            <a:off x="8336764" y="2077532"/>
            <a:ext cx="306171" cy="4079081"/>
            <a:chOff x="5942914" y="2081213"/>
            <a:chExt cx="306171" cy="4079081"/>
          </a:xfrm>
        </p:grpSpPr>
        <p:cxnSp>
          <p:nvCxnSpPr>
            <p:cNvPr id="35" name="Straight Connector 34">
              <a:extLst>
                <a:ext uri="{FF2B5EF4-FFF2-40B4-BE49-F238E27FC236}">
                  <a16:creationId xmlns:a16="http://schemas.microsoft.com/office/drawing/2014/main" id="{66ECC1FE-4C1C-4F35-AFDB-81DD1FEC55D5}"/>
                </a:ext>
              </a:extLst>
            </p:cNvPr>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679A09F0-FF5C-43E1-9FB1-E2093A65682F}"/>
                </a:ext>
              </a:extLst>
            </p:cNvPr>
            <p:cNvGrpSpPr/>
            <p:nvPr/>
          </p:nvGrpSpPr>
          <p:grpSpPr>
            <a:xfrm>
              <a:off x="5942914" y="3967299"/>
              <a:ext cx="306171" cy="306910"/>
              <a:chOff x="5937564" y="3833745"/>
              <a:chExt cx="306171" cy="306910"/>
            </a:xfrm>
          </p:grpSpPr>
          <p:sp>
            <p:nvSpPr>
              <p:cNvPr id="37" name="Freeform 94">
                <a:extLst>
                  <a:ext uri="{FF2B5EF4-FFF2-40B4-BE49-F238E27FC236}">
                    <a16:creationId xmlns:a16="http://schemas.microsoft.com/office/drawing/2014/main" id="{99CC1785-BAC9-4489-95B2-5FAD99077533}"/>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051934"/>
              </a:solidFill>
              <a:ln>
                <a:solidFill>
                  <a:srgbClr val="051934"/>
                </a:solidFill>
              </a:ln>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sp>
            <p:nvSpPr>
              <p:cNvPr id="38" name="Freeform 95">
                <a:extLst>
                  <a:ext uri="{FF2B5EF4-FFF2-40B4-BE49-F238E27FC236}">
                    <a16:creationId xmlns:a16="http://schemas.microsoft.com/office/drawing/2014/main" id="{D6842A5B-79A7-49C6-92CD-8FE46417BAE0}"/>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6E6F73"/>
                  </a:solidFill>
                  <a:effectLst/>
                  <a:uLnTx/>
                  <a:uFillTx/>
                  <a:latin typeface="Calibri"/>
                  <a:ea typeface="+mn-ea"/>
                  <a:cs typeface="+mn-cs"/>
                  <a:sym typeface="+mn-lt"/>
                </a:endParaRPr>
              </a:p>
            </p:txBody>
          </p:sp>
        </p:grpSp>
      </p:grpSp>
      <p:sp>
        <p:nvSpPr>
          <p:cNvPr id="43" name="Rectangle 42">
            <a:extLst>
              <a:ext uri="{FF2B5EF4-FFF2-40B4-BE49-F238E27FC236}">
                <a16:creationId xmlns:a16="http://schemas.microsoft.com/office/drawing/2014/main" id="{1CA88871-8B07-408D-A177-33072E4B9159}"/>
              </a:ext>
            </a:extLst>
          </p:cNvPr>
          <p:cNvSpPr/>
          <p:nvPr/>
        </p:nvSpPr>
        <p:spPr>
          <a:xfrm>
            <a:off x="8783782" y="2604655"/>
            <a:ext cx="2779567" cy="355643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59200" marR="0" lvl="1" indent="-1728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Only 100 School Districts reporting testing numbers; remainder are either not testing or failing to report to KDHE</a:t>
            </a:r>
          </a:p>
          <a:p>
            <a:pPr marL="259200" marR="0" lvl="1" indent="-1728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Nearly all School Districts reporting tests are using antigen tests</a:t>
            </a:r>
          </a:p>
          <a:p>
            <a:pPr marL="259200" marR="0" lvl="1" indent="-172800" algn="l" defTabSz="914400" rtl="0" eaLnBrk="1" fontAlgn="auto" latinLnBrk="0" hangingPunct="1">
              <a:lnSpc>
                <a:spcPct val="100000"/>
              </a:lnSpc>
              <a:spcBef>
                <a:spcPts val="0"/>
              </a:spcBef>
              <a:spcAft>
                <a:spcPts val="0"/>
              </a:spcAft>
              <a:buClr>
                <a:srgbClr val="051934"/>
              </a:buClr>
              <a:buSzTx/>
              <a:buFont typeface="Trebuchet MS" panose="020B0603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800 total cases reported across 74 districts</a:t>
            </a:r>
          </a:p>
        </p:txBody>
      </p:sp>
      <p:sp>
        <p:nvSpPr>
          <p:cNvPr id="44" name="Rectangle 43">
            <a:extLst>
              <a:ext uri="{FF2B5EF4-FFF2-40B4-BE49-F238E27FC236}">
                <a16:creationId xmlns:a16="http://schemas.microsoft.com/office/drawing/2014/main" id="{6F55A6E1-A7B5-4EF7-99D8-7EDFCE1495F0}"/>
              </a:ext>
            </a:extLst>
          </p:cNvPr>
          <p:cNvSpPr/>
          <p:nvPr/>
        </p:nvSpPr>
        <p:spPr>
          <a:xfrm>
            <a:off x="8783782" y="2081213"/>
            <a:ext cx="2779568" cy="44560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chemeClr val="tx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51934"/>
                </a:solidFill>
                <a:effectLst/>
                <a:uLnTx/>
                <a:uFillTx/>
                <a:latin typeface="Calibri"/>
                <a:ea typeface="+mn-ea"/>
                <a:cs typeface="+mn-cs"/>
              </a:rPr>
              <a:t>Key takeaways</a:t>
            </a:r>
          </a:p>
        </p:txBody>
      </p:sp>
    </p:spTree>
    <p:extLst>
      <p:ext uri="{BB962C8B-B14F-4D97-AF65-F5344CB8AC3E}">
        <p14:creationId xmlns:p14="http://schemas.microsoft.com/office/powerpoint/2010/main" val="2994355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nUZcb5q4EXoS3bg81l6MM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7ajnPxRM5pguSUKHIPpGT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UfOYmWzrhd8oMfrE8hlBC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9Ls8YCc22yE2f6EgVoR7Y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qJUVB8CtnjH.QQq5J57_y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d24tbhDIZegJ8.PX8XQs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kwzVb9turIO5ZSV3deRW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ekSFlW9wcmfrq5uJVMrYk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qoVQQjyCVcyFfDx9fDyVU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J8HjnU.ebjPPBkCtVsUWX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TRMth_sKa2Q8S9k8c61i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mCXMV9QUc2zVPShc6.LM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98DXuwXySv3viLpsMzAS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e.lITGomZyURwDF9Q2UPI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BJpJidN1R41UgTsM3mnqf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_cABFbF8M454HX028I7Q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m.s3HjANyJQzw6UYNivFT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PSmL5oWuX.ZVRdH5wyK2d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MzloEketxarFnrL0APUHk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ilDwwqU44oQ45EfxbRiq1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m83gDNcfVUF5Hp325Rdxu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3PvJwOXCAvbs4BEeYTTei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4dM6Lrd6n_IMhwIoj_AfX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3q.HGi9og0ATCBZb6X7pcg"/>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28gGxuYWAqXMnJqRc1RNN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Yj27.GKzNhejoWtSEDYUq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JlVx74wzGhQMOTiWrYXkL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JBSIn8tm8szaEkOcmXqAy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y5iN0DM4EqmXIAs3mAuIEQ"/>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OhnJU2CgsWGJtxj_s.Ivy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GY7gxNj2zUSwCDyuQxpLBQ"/>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5.bw1OP2EIKEJiduqEgxx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bi8QAdqK7i4pjTk.LDmBv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CB4Nuopqk4wtJ7M.LUFY0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QS2IWu80GhoPYsCBvHybi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tbGSG.leV.7jstGSGp3x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U1j4Rqz6jObdYKDNrKbE6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uRUpNQTxSfjOMN7Wmia4y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LLmW1r4KN2_VZL3xKtLT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bLSSMJ55HCTYMV4WQW2WK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AeOzhoHINiVomAj42nZRQ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8Zo6HdxnTbxUdW39uKhLc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qI.0OkBorW9ejpvnO04gc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e90usCK.xqjwKafyucc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76Ijv9JsT6UxQUpgImz46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jfVVl85QORWDazya2DE8M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_AjA1FuxnoI6kxN9Fb7og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bLnoRC5HyugnDu1QL4tSC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9E428w6KIZOnNnfevyspr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n_eecqZoDLTJFcC9hHBUx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xZQYyykmritN8xM3exNd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s6LWFhTBZYZ2WOtyY2CPT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WFIr6l3Q6P85wiYXzhjd7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6NKHdjnUyIq6xPgx1bJAC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gBcqN56qItJRmrKGTiwjd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2K4C3yX4Dpf3ODH6SMalD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hdu_55NgSlb7e_9T4BwX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YhY8lMYsdru_JCw34yDkw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pck5DS3XbZxh_1i2X0iUi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GmRMG1rHr1YsT9Wauv3ag"/>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MVTbBl58taHnDf8vF_.W0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QaWdHPy49CDBQAjel2fF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OWBazSU4ojGDKQHTZIyw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Lx337YC2sATeccuM_u7js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mCge6oLuO35AWD6K2Oudr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aw8JeYl56zz5hk1ZZR2pc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mLXpWE5aPKU8AgI5g7kZ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JrOMmlEhQT5zeLQmsoaFq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jxEUFXzMUKMKzYJuAxA6L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gf8zE4sXKrrROj6rRGlTa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Y_ZJ84MnAiQQGojdBooFx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YkNn2pOsTFdmpcAzppuid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xwHKS2ir0RcC4xUo4Qemq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13I.M2lip9n.rYH3tZL2F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9ZrFGkJW8zQUWVMYbgJrI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vZUzR6MzLknVeiHUjqTWu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y267UrY.94hjKfVANQaXR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0pXB48KRjoKdZrfazhbiE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KansansCAN-Blank-Template">
  <a:themeElements>
    <a:clrScheme name="KS Can Color Scheme">
      <a:dk1>
        <a:sysClr val="windowText" lastClr="000000"/>
      </a:dk1>
      <a:lt1>
        <a:srgbClr val="FFFFFF"/>
      </a:lt1>
      <a:dk2>
        <a:srgbClr val="15254B"/>
      </a:dk2>
      <a:lt2>
        <a:srgbClr val="FFA300"/>
      </a:lt2>
      <a:accent1>
        <a:srgbClr val="9CFF1A"/>
      </a:accent1>
      <a:accent2>
        <a:srgbClr val="FEF600"/>
      </a:accent2>
      <a:accent3>
        <a:srgbClr val="22D9E5"/>
      </a:accent3>
      <a:accent4>
        <a:srgbClr val="0D6F75"/>
      </a:accent4>
      <a:accent5>
        <a:srgbClr val="7F7F7F"/>
      </a:accent5>
      <a:accent6>
        <a:srgbClr val="4F8C00"/>
      </a:accent6>
      <a:hlink>
        <a:srgbClr val="00B0F0"/>
      </a:hlink>
      <a:folHlink>
        <a:srgbClr val="CF100A"/>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7.xml><?xml version="1.0" encoding="utf-8"?>
<a:theme xmlns:a="http://schemas.openxmlformats.org/drawingml/2006/main" name="1_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8.xml><?xml version="1.0" encoding="utf-8"?>
<a:theme xmlns:a="http://schemas.openxmlformats.org/drawingml/2006/main" name="2_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9.xml><?xml version="1.0" encoding="utf-8"?>
<a:theme xmlns:a="http://schemas.openxmlformats.org/drawingml/2006/main" name="3_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docProps/app.xml><?xml version="1.0" encoding="utf-8"?>
<Properties xmlns="http://schemas.openxmlformats.org/officeDocument/2006/extended-properties" xmlns:vt="http://schemas.openxmlformats.org/officeDocument/2006/docPropsVTypes">
  <TotalTime>94475</TotalTime>
  <Words>1237</Words>
  <Application>Microsoft Office PowerPoint</Application>
  <PresentationFormat>Widescreen</PresentationFormat>
  <Paragraphs>175</Paragraphs>
  <Slides>13</Slides>
  <Notes>6</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13</vt:i4>
      </vt:variant>
    </vt:vector>
  </HeadingPairs>
  <TitlesOfParts>
    <vt:vector size="34" baseType="lpstr">
      <vt:lpstr>Arial</vt:lpstr>
      <vt:lpstr>Calibri</vt:lpstr>
      <vt:lpstr>Calibri Light</vt:lpstr>
      <vt:lpstr>Cambria</vt:lpstr>
      <vt:lpstr>Century Gothic</vt:lpstr>
      <vt:lpstr>Mangal</vt:lpstr>
      <vt:lpstr>Open Sans Light</vt:lpstr>
      <vt:lpstr>Open Sans SemiBold</vt:lpstr>
      <vt:lpstr>Open Sans SemiBold</vt:lpstr>
      <vt:lpstr>Times New Roman</vt:lpstr>
      <vt:lpstr>Trebuchet MS</vt:lpstr>
      <vt:lpstr>1_KansansCAN-Blank-Template</vt:lpstr>
      <vt:lpstr>Custom Design</vt:lpstr>
      <vt:lpstr>2_Custom Design</vt:lpstr>
      <vt:lpstr>3_Custom Design</vt:lpstr>
      <vt:lpstr>4_KansansCAN-Blank-Template</vt:lpstr>
      <vt:lpstr>Kansas Grid 16:9 - 12912</vt:lpstr>
      <vt:lpstr>1_Kansas Grid 16:9 - 12912</vt:lpstr>
      <vt:lpstr>2_Kansas Grid 16:9 - 12912</vt:lpstr>
      <vt:lpstr>3_Kansas Grid 16:9 - 12912</vt:lpstr>
      <vt:lpstr>think-cell Slide</vt:lpstr>
      <vt:lpstr>Council of Superintendents September 2021</vt:lpstr>
      <vt:lpstr>PowerPoint Presentation</vt:lpstr>
      <vt:lpstr>PowerPoint Presentation</vt:lpstr>
      <vt:lpstr>Kindergarten Readiness</vt:lpstr>
      <vt:lpstr>Dental Screenings</vt:lpstr>
      <vt:lpstr>Preventive measures | 3 tools to keep schools safely open</vt:lpstr>
      <vt:lpstr>Vaccination | Youth vaccination rates by County</vt:lpstr>
      <vt:lpstr>Testing | Rate of application for funding and ongoing testing</vt:lpstr>
      <vt:lpstr>Testing | School Districts' reporting on testing metrics</vt:lpstr>
      <vt:lpstr>Masking | Mask mandates by School District and % of total KS youth pop.</vt:lpstr>
      <vt:lpstr>Backup | Detail on outbreaks</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ryl Franklin</dc:creator>
  <cp:lastModifiedBy>Makayla Auldridge</cp:lastModifiedBy>
  <cp:revision>1349</cp:revision>
  <cp:lastPrinted>2020-07-14T12:06:11Z</cp:lastPrinted>
  <dcterms:created xsi:type="dcterms:W3CDTF">2015-08-04T16:12:34Z</dcterms:created>
  <dcterms:modified xsi:type="dcterms:W3CDTF">2021-09-29T13:38:55Z</dcterms:modified>
</cp:coreProperties>
</file>